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3.xml" ContentType="application/vnd.openxmlformats-officedocument.theme+xml"/>
  <Override PartName="/ppt/media/image4.bin" ContentType="image/unknown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4.xml" ContentType="application/vnd.openxmlformats-officedocument.theme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5.xml" ContentType="application/vnd.openxmlformats-officedocument.theme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6.xml" ContentType="application/vnd.openxmlformats-officedocument.theme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7.xml" ContentType="application/vnd.openxmlformats-officedocument.theme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theme/theme8.xml" ContentType="application/vnd.openxmlformats-officedocument.theme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theme/theme9.xml" ContentType="application/vnd.openxmlformats-officedocument.theme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74" r:id="rId2"/>
    <p:sldMasterId id="2147483687" r:id="rId3"/>
    <p:sldMasterId id="2147483725" r:id="rId4"/>
    <p:sldMasterId id="2147483753" r:id="rId5"/>
    <p:sldMasterId id="2147483777" r:id="rId6"/>
    <p:sldMasterId id="2147483802" r:id="rId7"/>
    <p:sldMasterId id="2147483826" r:id="rId8"/>
    <p:sldMasterId id="2147483849" r:id="rId9"/>
    <p:sldMasterId id="2147483873" r:id="rId10"/>
  </p:sldMasterIdLst>
  <p:notesMasterIdLst>
    <p:notesMasterId r:id="rId61"/>
  </p:notesMasterIdLst>
  <p:sldIdLst>
    <p:sldId id="2147482723" r:id="rId11"/>
    <p:sldId id="2147482629" r:id="rId12"/>
    <p:sldId id="2147482632" r:id="rId13"/>
    <p:sldId id="2147482472" r:id="rId14"/>
    <p:sldId id="2147482697" r:id="rId15"/>
    <p:sldId id="2147482706" r:id="rId16"/>
    <p:sldId id="2147482473" r:id="rId17"/>
    <p:sldId id="2134806831" r:id="rId18"/>
    <p:sldId id="2147482718" r:id="rId19"/>
    <p:sldId id="2134807274" r:id="rId20"/>
    <p:sldId id="2147482719" r:id="rId21"/>
    <p:sldId id="2147482720" r:id="rId22"/>
    <p:sldId id="2147482721" r:id="rId23"/>
    <p:sldId id="2147482705" r:id="rId24"/>
    <p:sldId id="2147482702" r:id="rId25"/>
    <p:sldId id="2147482480" r:id="rId26"/>
    <p:sldId id="2147482481" r:id="rId27"/>
    <p:sldId id="2147482482" r:id="rId28"/>
    <p:sldId id="2147482483" r:id="rId29"/>
    <p:sldId id="2147482484" r:id="rId30"/>
    <p:sldId id="2147482485" r:id="rId31"/>
    <p:sldId id="2147482486" r:id="rId32"/>
    <p:sldId id="2147482731" r:id="rId33"/>
    <p:sldId id="2147482724" r:id="rId34"/>
    <p:sldId id="2147482489" r:id="rId35"/>
    <p:sldId id="2147482725" r:id="rId36"/>
    <p:sldId id="2147482488" r:id="rId37"/>
    <p:sldId id="2147482490" r:id="rId38"/>
    <p:sldId id="2147482727" r:id="rId39"/>
    <p:sldId id="2147482728" r:id="rId40"/>
    <p:sldId id="2147482729" r:id="rId41"/>
    <p:sldId id="2147482494" r:id="rId42"/>
    <p:sldId id="2147482732" r:id="rId43"/>
    <p:sldId id="2147482733" r:id="rId44"/>
    <p:sldId id="2147482734" r:id="rId45"/>
    <p:sldId id="2147482735" r:id="rId46"/>
    <p:sldId id="2147482736" r:id="rId47"/>
    <p:sldId id="2147482737" r:id="rId48"/>
    <p:sldId id="2147482738" r:id="rId49"/>
    <p:sldId id="2147482739" r:id="rId50"/>
    <p:sldId id="2147482740" r:id="rId51"/>
    <p:sldId id="2147482717" r:id="rId52"/>
    <p:sldId id="2147482495" r:id="rId53"/>
    <p:sldId id="2147482496" r:id="rId54"/>
    <p:sldId id="2147482741" r:id="rId55"/>
    <p:sldId id="2147482497" r:id="rId56"/>
    <p:sldId id="2147482742" r:id="rId57"/>
    <p:sldId id="2147482704" r:id="rId58"/>
    <p:sldId id="2147482628" r:id="rId59"/>
    <p:sldId id="2147482634" r:id="rId60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24D7C"/>
    <a:srgbClr val="F0F9FE"/>
    <a:srgbClr val="424D7B"/>
    <a:srgbClr val="00ACA4"/>
    <a:srgbClr val="D6E9EA"/>
    <a:srgbClr val="1E3F48"/>
    <a:srgbClr val="106585"/>
    <a:srgbClr val="0097B2"/>
    <a:srgbClr val="00729A"/>
    <a:srgbClr val="70B1B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FB89086-99F4-41A4-86C3-99EE03462E98}" v="1" dt="2025-11-11T17:52:48.16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75" d="100"/>
          <a:sy n="75" d="100"/>
        </p:scale>
        <p:origin x="1048" y="3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74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6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slide" Target="slides/slide32.xml"/><Relationship Id="rId47" Type="http://schemas.openxmlformats.org/officeDocument/2006/relationships/slide" Target="slides/slide37.xml"/><Relationship Id="rId50" Type="http://schemas.openxmlformats.org/officeDocument/2006/relationships/slide" Target="slides/slide40.xml"/><Relationship Id="rId55" Type="http://schemas.openxmlformats.org/officeDocument/2006/relationships/slide" Target="slides/slide45.xml"/><Relationship Id="rId63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9" Type="http://schemas.openxmlformats.org/officeDocument/2006/relationships/slide" Target="slides/slide19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slide" Target="slides/slide30.xml"/><Relationship Id="rId45" Type="http://schemas.openxmlformats.org/officeDocument/2006/relationships/slide" Target="slides/slide35.xml"/><Relationship Id="rId53" Type="http://schemas.openxmlformats.org/officeDocument/2006/relationships/slide" Target="slides/slide43.xml"/><Relationship Id="rId58" Type="http://schemas.openxmlformats.org/officeDocument/2006/relationships/slide" Target="slides/slide48.xml"/><Relationship Id="rId66" Type="http://schemas.microsoft.com/office/2015/10/relationships/revisionInfo" Target="revisionInfo.xml"/><Relationship Id="rId5" Type="http://schemas.openxmlformats.org/officeDocument/2006/relationships/slideMaster" Target="slideMasters/slideMaster5.xml"/><Relationship Id="rId61" Type="http://schemas.openxmlformats.org/officeDocument/2006/relationships/notesMaster" Target="notesMasters/notesMaster1.xml"/><Relationship Id="rId19" Type="http://schemas.openxmlformats.org/officeDocument/2006/relationships/slide" Target="slides/slide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slide" Target="slides/slide33.xml"/><Relationship Id="rId48" Type="http://schemas.openxmlformats.org/officeDocument/2006/relationships/slide" Target="slides/slide38.xml"/><Relationship Id="rId56" Type="http://schemas.openxmlformats.org/officeDocument/2006/relationships/slide" Target="slides/slide46.xml"/><Relationship Id="rId64" Type="http://schemas.openxmlformats.org/officeDocument/2006/relationships/theme" Target="theme/theme1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46" Type="http://schemas.openxmlformats.org/officeDocument/2006/relationships/slide" Target="slides/slide36.xml"/><Relationship Id="rId59" Type="http://schemas.openxmlformats.org/officeDocument/2006/relationships/slide" Target="slides/slide49.xml"/><Relationship Id="rId20" Type="http://schemas.openxmlformats.org/officeDocument/2006/relationships/slide" Target="slides/slide10.xml"/><Relationship Id="rId41" Type="http://schemas.openxmlformats.org/officeDocument/2006/relationships/slide" Target="slides/slide31.xml"/><Relationship Id="rId54" Type="http://schemas.openxmlformats.org/officeDocument/2006/relationships/slide" Target="slides/slide44.xml"/><Relationship Id="rId62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49" Type="http://schemas.openxmlformats.org/officeDocument/2006/relationships/slide" Target="slides/slide39.xml"/><Relationship Id="rId57" Type="http://schemas.openxmlformats.org/officeDocument/2006/relationships/slide" Target="slides/slide47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21.xml"/><Relationship Id="rId44" Type="http://schemas.openxmlformats.org/officeDocument/2006/relationships/slide" Target="slides/slide34.xml"/><Relationship Id="rId52" Type="http://schemas.openxmlformats.org/officeDocument/2006/relationships/slide" Target="slides/slide42.xml"/><Relationship Id="rId60" Type="http://schemas.openxmlformats.org/officeDocument/2006/relationships/slide" Target="slides/slide50.xml"/><Relationship Id="rId65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39" Type="http://schemas.openxmlformats.org/officeDocument/2006/relationships/slide" Target="slides/slide29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E957657-6452-4DBE-9B68-798212620B8D}" type="doc">
      <dgm:prSet loTypeId="urn:microsoft.com/office/officeart/2005/8/layout/matrix1" loCatId="matrix" qsTypeId="urn:microsoft.com/office/officeart/2005/8/quickstyle/simple5" qsCatId="simple" csTypeId="urn:microsoft.com/office/officeart/2005/8/colors/accent1_1" csCatId="accent1" phldr="1"/>
      <dgm:spPr/>
      <dgm:t>
        <a:bodyPr/>
        <a:lstStyle/>
        <a:p>
          <a:endParaRPr lang="fr-MA"/>
        </a:p>
      </dgm:t>
    </dgm:pt>
    <dgm:pt modelId="{47FF1F67-46D2-4237-AC2C-7BA1E1BE9F0A}">
      <dgm:prSet phldrT="[Texte]" phldr="0" custT="1"/>
      <dgm:spPr/>
      <dgm:t>
        <a:bodyPr/>
        <a:lstStyle/>
        <a:p>
          <a:pPr rtl="1">
            <a:lnSpc>
              <a:spcPct val="100000"/>
            </a:lnSpc>
          </a:pPr>
          <a:r>
            <a:rPr lang="ar-MA" sz="3600" b="1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rPr>
            <a:t>اَلصَّحْنُ الصَّغيرُ</a:t>
          </a:r>
          <a:endParaRPr lang="fr-MA" sz="3600" b="1" dirty="0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gm:t>
    </dgm:pt>
    <dgm:pt modelId="{EB6C5D9A-68BF-452B-96E9-0F23C490F9A3}" type="parTrans" cxnId="{2E45EABE-6A07-4164-AE85-6F6D93AB1DDF}">
      <dgm:prSet/>
      <dgm:spPr/>
      <dgm:t>
        <a:bodyPr/>
        <a:lstStyle/>
        <a:p>
          <a:pPr rtl="1">
            <a:lnSpc>
              <a:spcPct val="100000"/>
            </a:lnSpc>
          </a:pPr>
          <a:endParaRPr lang="fr-MA" sz="3600" b="1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gm:t>
    </dgm:pt>
    <dgm:pt modelId="{F817EC7C-C22B-477C-A2C4-BBACC2925266}" type="sibTrans" cxnId="{2E45EABE-6A07-4164-AE85-6F6D93AB1DDF}">
      <dgm:prSet/>
      <dgm:spPr/>
      <dgm:t>
        <a:bodyPr/>
        <a:lstStyle/>
        <a:p>
          <a:pPr rtl="1">
            <a:lnSpc>
              <a:spcPct val="100000"/>
            </a:lnSpc>
          </a:pPr>
          <a:endParaRPr lang="fr-MA" sz="3600" b="1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gm:t>
    </dgm:pt>
    <dgm:pt modelId="{18001F4D-D792-48CE-BFB6-B69E16887331}">
      <dgm:prSet phldrT="[Texte]" phldr="0" custT="1"/>
      <dgm:spPr/>
      <dgm:t>
        <a:bodyPr/>
        <a:lstStyle/>
        <a:p>
          <a:pPr rtl="1">
            <a:lnSpc>
              <a:spcPct val="100000"/>
            </a:lnSpc>
          </a:pPr>
          <a:r>
            <a:rPr lang="ar-MA" sz="3600" b="1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rPr>
            <a:t>اَلْمَكانُ:..................</a:t>
          </a:r>
        </a:p>
        <a:p>
          <a:pPr rtl="1">
            <a:lnSpc>
              <a:spcPct val="100000"/>
            </a:lnSpc>
          </a:pPr>
          <a:r>
            <a:rPr lang="ar-MA" sz="3600" b="1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rPr>
            <a:t>................................</a:t>
          </a:r>
          <a:endParaRPr lang="fr-MA" sz="3600" b="1" dirty="0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gm:t>
    </dgm:pt>
    <dgm:pt modelId="{D670BF53-C171-458E-A32A-89BB03967FBB}" type="parTrans" cxnId="{5D132CE0-84D2-4E14-B2A6-8397D8C09F18}">
      <dgm:prSet/>
      <dgm:spPr/>
      <dgm:t>
        <a:bodyPr/>
        <a:lstStyle/>
        <a:p>
          <a:pPr rtl="1">
            <a:lnSpc>
              <a:spcPct val="100000"/>
            </a:lnSpc>
          </a:pPr>
          <a:endParaRPr lang="fr-MA" sz="3600" b="1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gm:t>
    </dgm:pt>
    <dgm:pt modelId="{0EF75722-BA8E-4CB0-B74C-61FDF0BA0274}" type="sibTrans" cxnId="{5D132CE0-84D2-4E14-B2A6-8397D8C09F18}">
      <dgm:prSet/>
      <dgm:spPr/>
      <dgm:t>
        <a:bodyPr/>
        <a:lstStyle/>
        <a:p>
          <a:pPr rtl="1">
            <a:lnSpc>
              <a:spcPct val="100000"/>
            </a:lnSpc>
          </a:pPr>
          <a:endParaRPr lang="fr-MA" sz="3600" b="1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gm:t>
    </dgm:pt>
    <dgm:pt modelId="{B358C5DC-F12D-44B0-9539-FD5150233E4D}">
      <dgm:prSet phldrT="[Texte]" phldr="0" custT="1"/>
      <dgm:spPr/>
      <dgm:t>
        <a:bodyPr/>
        <a:lstStyle/>
        <a:p>
          <a:pPr rtl="1">
            <a:lnSpc>
              <a:spcPct val="100000"/>
            </a:lnSpc>
          </a:pPr>
          <a:r>
            <a:rPr lang="ar-MA" sz="3600" b="1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rPr>
            <a:t>اَلزَّمانُ:.....................</a:t>
          </a:r>
        </a:p>
        <a:p>
          <a:pPr rtl="1">
            <a:lnSpc>
              <a:spcPct val="100000"/>
            </a:lnSpc>
          </a:pPr>
          <a:r>
            <a:rPr lang="ar-MA" sz="3600" b="1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rPr>
            <a:t>......................</a:t>
          </a:r>
          <a:endParaRPr lang="fr-MA" sz="3600" b="1" dirty="0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gm:t>
    </dgm:pt>
    <dgm:pt modelId="{E95C6A63-A16F-423B-B678-2CA9E86B3747}" type="parTrans" cxnId="{B49E3137-1260-440C-857C-D19DC65D383F}">
      <dgm:prSet/>
      <dgm:spPr/>
      <dgm:t>
        <a:bodyPr/>
        <a:lstStyle/>
        <a:p>
          <a:pPr rtl="1">
            <a:lnSpc>
              <a:spcPct val="100000"/>
            </a:lnSpc>
          </a:pPr>
          <a:endParaRPr lang="fr-MA" sz="3600" b="1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gm:t>
    </dgm:pt>
    <dgm:pt modelId="{A867D9F7-71FF-4450-A808-0F785248B15C}" type="sibTrans" cxnId="{B49E3137-1260-440C-857C-D19DC65D383F}">
      <dgm:prSet/>
      <dgm:spPr/>
      <dgm:t>
        <a:bodyPr/>
        <a:lstStyle/>
        <a:p>
          <a:pPr rtl="1">
            <a:lnSpc>
              <a:spcPct val="100000"/>
            </a:lnSpc>
          </a:pPr>
          <a:endParaRPr lang="fr-MA" sz="3600" b="1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gm:t>
    </dgm:pt>
    <dgm:pt modelId="{1DC00087-E8AE-49B2-BDB5-5A0F6CC6C0F7}">
      <dgm:prSet phldrT="[Texte]" phldr="0" custT="1"/>
      <dgm:spPr/>
      <dgm:t>
        <a:bodyPr/>
        <a:lstStyle/>
        <a:p>
          <a:pPr rtl="1">
            <a:lnSpc>
              <a:spcPct val="100000"/>
            </a:lnSpc>
          </a:pPr>
          <a:r>
            <a:rPr lang="ar-MA" sz="3600" b="1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rPr>
            <a:t>اَلْحَلُّ: .................................</a:t>
          </a:r>
        </a:p>
        <a:p>
          <a:pPr rtl="1">
            <a:lnSpc>
              <a:spcPct val="100000"/>
            </a:lnSpc>
          </a:pPr>
          <a:r>
            <a:rPr lang="ar-MA" sz="3600" b="1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rPr>
            <a:t>.....................................</a:t>
          </a:r>
          <a:endParaRPr lang="fr-MA" sz="3600" b="1" dirty="0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gm:t>
    </dgm:pt>
    <dgm:pt modelId="{D78F00A4-4180-465A-B8FE-788B9A3DF4D9}" type="parTrans" cxnId="{941962A0-A0C9-4B16-AE6A-8CBCB5A882EE}">
      <dgm:prSet/>
      <dgm:spPr/>
      <dgm:t>
        <a:bodyPr/>
        <a:lstStyle/>
        <a:p>
          <a:pPr rtl="1">
            <a:lnSpc>
              <a:spcPct val="100000"/>
            </a:lnSpc>
          </a:pPr>
          <a:endParaRPr lang="fr-MA" sz="3600" b="1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gm:t>
    </dgm:pt>
    <dgm:pt modelId="{32BC00D3-6218-4155-AF2C-5E013413EA98}" type="sibTrans" cxnId="{941962A0-A0C9-4B16-AE6A-8CBCB5A882EE}">
      <dgm:prSet/>
      <dgm:spPr/>
      <dgm:t>
        <a:bodyPr/>
        <a:lstStyle/>
        <a:p>
          <a:pPr rtl="1">
            <a:lnSpc>
              <a:spcPct val="100000"/>
            </a:lnSpc>
          </a:pPr>
          <a:endParaRPr lang="fr-MA" sz="3600" b="1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gm:t>
    </dgm:pt>
    <dgm:pt modelId="{508831DF-1D04-4033-B408-8CBAD10926AF}">
      <dgm:prSet phldrT="[Texte]" phldr="0" custT="1"/>
      <dgm:spPr/>
      <dgm:t>
        <a:bodyPr/>
        <a:lstStyle/>
        <a:p>
          <a:pPr rtl="1">
            <a:lnSpc>
              <a:spcPct val="100000"/>
            </a:lnSpc>
          </a:pPr>
          <a:r>
            <a:rPr lang="ar-MA" sz="3600" b="1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rPr>
            <a:t>اَلْمُشْكِلَةُ..........................</a:t>
          </a:r>
        </a:p>
        <a:p>
          <a:pPr rtl="1">
            <a:lnSpc>
              <a:spcPct val="100000"/>
            </a:lnSpc>
          </a:pPr>
          <a:r>
            <a:rPr lang="ar-MA" sz="3600" b="1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rPr>
            <a:t>................................</a:t>
          </a:r>
          <a:endParaRPr lang="fr-MA" sz="3600" b="1" dirty="0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gm:t>
    </dgm:pt>
    <dgm:pt modelId="{81982976-07F5-4FD7-9FAC-C3E6D751679F}" type="parTrans" cxnId="{BFA8669A-434C-491B-88D8-25637F580825}">
      <dgm:prSet/>
      <dgm:spPr/>
      <dgm:t>
        <a:bodyPr/>
        <a:lstStyle/>
        <a:p>
          <a:pPr rtl="1">
            <a:lnSpc>
              <a:spcPct val="100000"/>
            </a:lnSpc>
          </a:pPr>
          <a:endParaRPr lang="fr-MA" sz="3600" b="1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gm:t>
    </dgm:pt>
    <dgm:pt modelId="{F02C1D4F-816E-43DD-9CD1-744183F957EE}" type="sibTrans" cxnId="{BFA8669A-434C-491B-88D8-25637F580825}">
      <dgm:prSet/>
      <dgm:spPr/>
      <dgm:t>
        <a:bodyPr/>
        <a:lstStyle/>
        <a:p>
          <a:pPr rtl="1">
            <a:lnSpc>
              <a:spcPct val="100000"/>
            </a:lnSpc>
          </a:pPr>
          <a:endParaRPr lang="fr-MA" sz="3600" b="1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gm:t>
    </dgm:pt>
    <dgm:pt modelId="{E2604E00-2669-4D0E-BBB1-10B7109862B9}" type="pres">
      <dgm:prSet presAssocID="{5E957657-6452-4DBE-9B68-798212620B8D}" presName="diagram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ADB3BF3A-2870-4175-90F4-12D822A93687}" type="pres">
      <dgm:prSet presAssocID="{5E957657-6452-4DBE-9B68-798212620B8D}" presName="matrix" presStyleCnt="0"/>
      <dgm:spPr/>
    </dgm:pt>
    <dgm:pt modelId="{C8C4F009-E953-44CD-99EF-AD942024AA42}" type="pres">
      <dgm:prSet presAssocID="{5E957657-6452-4DBE-9B68-798212620B8D}" presName="tile1" presStyleLbl="node1" presStyleIdx="0" presStyleCnt="4"/>
      <dgm:spPr/>
    </dgm:pt>
    <dgm:pt modelId="{872D56A1-09A9-4CED-BF10-B7A5D50C6656}" type="pres">
      <dgm:prSet presAssocID="{5E957657-6452-4DBE-9B68-798212620B8D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10DA8C0E-0DDE-43C0-9C7F-6245AE7219CF}" type="pres">
      <dgm:prSet presAssocID="{5E957657-6452-4DBE-9B68-798212620B8D}" presName="tile2" presStyleLbl="node1" presStyleIdx="1" presStyleCnt="4" custLinFactNeighborX="1117"/>
      <dgm:spPr/>
    </dgm:pt>
    <dgm:pt modelId="{ADF473CE-25B2-4DFB-B146-DAEB24E121AA}" type="pres">
      <dgm:prSet presAssocID="{5E957657-6452-4DBE-9B68-798212620B8D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79926D05-A63B-4C4B-9CCB-A76E88B090D5}" type="pres">
      <dgm:prSet presAssocID="{5E957657-6452-4DBE-9B68-798212620B8D}" presName="tile3" presStyleLbl="node1" presStyleIdx="2" presStyleCnt="4"/>
      <dgm:spPr/>
    </dgm:pt>
    <dgm:pt modelId="{50917356-299A-474C-9724-F62FEA4AAA16}" type="pres">
      <dgm:prSet presAssocID="{5E957657-6452-4DBE-9B68-798212620B8D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A02415B0-CAFD-4B65-A7B1-A598593DC044}" type="pres">
      <dgm:prSet presAssocID="{5E957657-6452-4DBE-9B68-798212620B8D}" presName="tile4" presStyleLbl="node1" presStyleIdx="3" presStyleCnt="4"/>
      <dgm:spPr/>
    </dgm:pt>
    <dgm:pt modelId="{2BF89C9F-8389-4410-AA96-9FF1B43461A3}" type="pres">
      <dgm:prSet presAssocID="{5E957657-6452-4DBE-9B68-798212620B8D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A1856F3A-684C-4B53-8FF9-DB91EAA873BE}" type="pres">
      <dgm:prSet presAssocID="{5E957657-6452-4DBE-9B68-798212620B8D}" presName="centerTile" presStyleLbl="fgShp" presStyleIdx="0" presStyleCnt="1">
        <dgm:presLayoutVars>
          <dgm:chMax val="0"/>
          <dgm:chPref val="0"/>
        </dgm:presLayoutVars>
      </dgm:prSet>
      <dgm:spPr/>
    </dgm:pt>
  </dgm:ptLst>
  <dgm:cxnLst>
    <dgm:cxn modelId="{980CCB00-2350-4932-A3EF-24A9B9AB65E1}" type="presOf" srcId="{18001F4D-D792-48CE-BFB6-B69E16887331}" destId="{C8C4F009-E953-44CD-99EF-AD942024AA42}" srcOrd="0" destOrd="0" presId="urn:microsoft.com/office/officeart/2005/8/layout/matrix1"/>
    <dgm:cxn modelId="{A71A9B07-F23B-436E-925B-A91CA300294B}" type="presOf" srcId="{1DC00087-E8AE-49B2-BDB5-5A0F6CC6C0F7}" destId="{79926D05-A63B-4C4B-9CCB-A76E88B090D5}" srcOrd="0" destOrd="0" presId="urn:microsoft.com/office/officeart/2005/8/layout/matrix1"/>
    <dgm:cxn modelId="{83010612-537B-45E3-97C0-A61032787509}" type="presOf" srcId="{508831DF-1D04-4033-B408-8CBAD10926AF}" destId="{2BF89C9F-8389-4410-AA96-9FF1B43461A3}" srcOrd="1" destOrd="0" presId="urn:microsoft.com/office/officeart/2005/8/layout/matrix1"/>
    <dgm:cxn modelId="{F10AB323-B16F-4D32-A3D3-D30BE22F7EE1}" type="presOf" srcId="{B358C5DC-F12D-44B0-9539-FD5150233E4D}" destId="{10DA8C0E-0DDE-43C0-9C7F-6245AE7219CF}" srcOrd="0" destOrd="0" presId="urn:microsoft.com/office/officeart/2005/8/layout/matrix1"/>
    <dgm:cxn modelId="{4ADF9B26-4CB6-4AAB-BE2C-3B2BD56C523E}" type="presOf" srcId="{5E957657-6452-4DBE-9B68-798212620B8D}" destId="{E2604E00-2669-4D0E-BBB1-10B7109862B9}" srcOrd="0" destOrd="0" presId="urn:microsoft.com/office/officeart/2005/8/layout/matrix1"/>
    <dgm:cxn modelId="{B49E3137-1260-440C-857C-D19DC65D383F}" srcId="{47FF1F67-46D2-4237-AC2C-7BA1E1BE9F0A}" destId="{B358C5DC-F12D-44B0-9539-FD5150233E4D}" srcOrd="1" destOrd="0" parTransId="{E95C6A63-A16F-423B-B678-2CA9E86B3747}" sibTransId="{A867D9F7-71FF-4450-A808-0F785248B15C}"/>
    <dgm:cxn modelId="{BF084E61-CB85-405D-9134-4933DFE39487}" type="presOf" srcId="{18001F4D-D792-48CE-BFB6-B69E16887331}" destId="{872D56A1-09A9-4CED-BF10-B7A5D50C6656}" srcOrd="1" destOrd="0" presId="urn:microsoft.com/office/officeart/2005/8/layout/matrix1"/>
    <dgm:cxn modelId="{BFA8669A-434C-491B-88D8-25637F580825}" srcId="{47FF1F67-46D2-4237-AC2C-7BA1E1BE9F0A}" destId="{508831DF-1D04-4033-B408-8CBAD10926AF}" srcOrd="3" destOrd="0" parTransId="{81982976-07F5-4FD7-9FAC-C3E6D751679F}" sibTransId="{F02C1D4F-816E-43DD-9CD1-744183F957EE}"/>
    <dgm:cxn modelId="{941962A0-A0C9-4B16-AE6A-8CBCB5A882EE}" srcId="{47FF1F67-46D2-4237-AC2C-7BA1E1BE9F0A}" destId="{1DC00087-E8AE-49B2-BDB5-5A0F6CC6C0F7}" srcOrd="2" destOrd="0" parTransId="{D78F00A4-4180-465A-B8FE-788B9A3DF4D9}" sibTransId="{32BC00D3-6218-4155-AF2C-5E013413EA98}"/>
    <dgm:cxn modelId="{D5A36DAD-AC8A-4B00-8FF1-3379103FF001}" type="presOf" srcId="{47FF1F67-46D2-4237-AC2C-7BA1E1BE9F0A}" destId="{A1856F3A-684C-4B53-8FF9-DB91EAA873BE}" srcOrd="0" destOrd="0" presId="urn:microsoft.com/office/officeart/2005/8/layout/matrix1"/>
    <dgm:cxn modelId="{360058BE-4B30-4A76-9C34-A721393D5C9C}" type="presOf" srcId="{508831DF-1D04-4033-B408-8CBAD10926AF}" destId="{A02415B0-CAFD-4B65-A7B1-A598593DC044}" srcOrd="0" destOrd="0" presId="urn:microsoft.com/office/officeart/2005/8/layout/matrix1"/>
    <dgm:cxn modelId="{2E45EABE-6A07-4164-AE85-6F6D93AB1DDF}" srcId="{5E957657-6452-4DBE-9B68-798212620B8D}" destId="{47FF1F67-46D2-4237-AC2C-7BA1E1BE9F0A}" srcOrd="0" destOrd="0" parTransId="{EB6C5D9A-68BF-452B-96E9-0F23C490F9A3}" sibTransId="{F817EC7C-C22B-477C-A2C4-BBACC2925266}"/>
    <dgm:cxn modelId="{5D132CE0-84D2-4E14-B2A6-8397D8C09F18}" srcId="{47FF1F67-46D2-4237-AC2C-7BA1E1BE9F0A}" destId="{18001F4D-D792-48CE-BFB6-B69E16887331}" srcOrd="0" destOrd="0" parTransId="{D670BF53-C171-458E-A32A-89BB03967FBB}" sibTransId="{0EF75722-BA8E-4CB0-B74C-61FDF0BA0274}"/>
    <dgm:cxn modelId="{3821D6F9-DEF1-4215-9BE6-97450B08AB13}" type="presOf" srcId="{1DC00087-E8AE-49B2-BDB5-5A0F6CC6C0F7}" destId="{50917356-299A-474C-9724-F62FEA4AAA16}" srcOrd="1" destOrd="0" presId="urn:microsoft.com/office/officeart/2005/8/layout/matrix1"/>
    <dgm:cxn modelId="{03AA28FF-3074-4485-B3F8-B9DAD0446DE8}" type="presOf" srcId="{B358C5DC-F12D-44B0-9539-FD5150233E4D}" destId="{ADF473CE-25B2-4DFB-B146-DAEB24E121AA}" srcOrd="1" destOrd="0" presId="urn:microsoft.com/office/officeart/2005/8/layout/matrix1"/>
    <dgm:cxn modelId="{11952B3D-5766-4DB0-A65B-E76616B12665}" type="presParOf" srcId="{E2604E00-2669-4D0E-BBB1-10B7109862B9}" destId="{ADB3BF3A-2870-4175-90F4-12D822A93687}" srcOrd="0" destOrd="0" presId="urn:microsoft.com/office/officeart/2005/8/layout/matrix1"/>
    <dgm:cxn modelId="{05E2C9FC-D8AC-4710-8214-1A241807F652}" type="presParOf" srcId="{ADB3BF3A-2870-4175-90F4-12D822A93687}" destId="{C8C4F009-E953-44CD-99EF-AD942024AA42}" srcOrd="0" destOrd="0" presId="urn:microsoft.com/office/officeart/2005/8/layout/matrix1"/>
    <dgm:cxn modelId="{EBFCE268-E47C-4722-95EC-C5DE8D69EE11}" type="presParOf" srcId="{ADB3BF3A-2870-4175-90F4-12D822A93687}" destId="{872D56A1-09A9-4CED-BF10-B7A5D50C6656}" srcOrd="1" destOrd="0" presId="urn:microsoft.com/office/officeart/2005/8/layout/matrix1"/>
    <dgm:cxn modelId="{6F6F7DC7-C211-420E-BC4C-ECF3A2E4D413}" type="presParOf" srcId="{ADB3BF3A-2870-4175-90F4-12D822A93687}" destId="{10DA8C0E-0DDE-43C0-9C7F-6245AE7219CF}" srcOrd="2" destOrd="0" presId="urn:microsoft.com/office/officeart/2005/8/layout/matrix1"/>
    <dgm:cxn modelId="{3B41DBC8-8ECB-4C0B-B3A4-4ACAFD471E7F}" type="presParOf" srcId="{ADB3BF3A-2870-4175-90F4-12D822A93687}" destId="{ADF473CE-25B2-4DFB-B146-DAEB24E121AA}" srcOrd="3" destOrd="0" presId="urn:microsoft.com/office/officeart/2005/8/layout/matrix1"/>
    <dgm:cxn modelId="{5F4C362D-2EED-4091-99A1-ECCA89AE19B0}" type="presParOf" srcId="{ADB3BF3A-2870-4175-90F4-12D822A93687}" destId="{79926D05-A63B-4C4B-9CCB-A76E88B090D5}" srcOrd="4" destOrd="0" presId="urn:microsoft.com/office/officeart/2005/8/layout/matrix1"/>
    <dgm:cxn modelId="{16D37674-6497-4E67-9544-B0EC0E12413F}" type="presParOf" srcId="{ADB3BF3A-2870-4175-90F4-12D822A93687}" destId="{50917356-299A-474C-9724-F62FEA4AAA16}" srcOrd="5" destOrd="0" presId="urn:microsoft.com/office/officeart/2005/8/layout/matrix1"/>
    <dgm:cxn modelId="{68662EF3-B777-4993-A293-D99545A373C9}" type="presParOf" srcId="{ADB3BF3A-2870-4175-90F4-12D822A93687}" destId="{A02415B0-CAFD-4B65-A7B1-A598593DC044}" srcOrd="6" destOrd="0" presId="urn:microsoft.com/office/officeart/2005/8/layout/matrix1"/>
    <dgm:cxn modelId="{265E02CD-8B7F-48F8-9E9B-80C84B056E82}" type="presParOf" srcId="{ADB3BF3A-2870-4175-90F4-12D822A93687}" destId="{2BF89C9F-8389-4410-AA96-9FF1B43461A3}" srcOrd="7" destOrd="0" presId="urn:microsoft.com/office/officeart/2005/8/layout/matrix1"/>
    <dgm:cxn modelId="{A4944F82-7DF0-44F3-9C33-BFB62EE11C02}" type="presParOf" srcId="{E2604E00-2669-4D0E-BBB1-10B7109862B9}" destId="{A1856F3A-684C-4B53-8FF9-DB91EAA873BE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E957657-6452-4DBE-9B68-798212620B8D}" type="doc">
      <dgm:prSet loTypeId="urn:microsoft.com/office/officeart/2005/8/layout/matrix1" loCatId="matrix" qsTypeId="urn:microsoft.com/office/officeart/2005/8/quickstyle/simple5" qsCatId="simple" csTypeId="urn:microsoft.com/office/officeart/2005/8/colors/accent1_1" csCatId="accent1" phldr="1"/>
      <dgm:spPr/>
      <dgm:t>
        <a:bodyPr/>
        <a:lstStyle/>
        <a:p>
          <a:endParaRPr lang="fr-MA"/>
        </a:p>
      </dgm:t>
    </dgm:pt>
    <dgm:pt modelId="{47FF1F67-46D2-4237-AC2C-7BA1E1BE9F0A}">
      <dgm:prSet phldrT="[Texte]" phldr="0" custT="1"/>
      <dgm:spPr/>
      <dgm:t>
        <a:bodyPr/>
        <a:lstStyle/>
        <a:p>
          <a:pPr rtl="1">
            <a:lnSpc>
              <a:spcPct val="100000"/>
            </a:lnSpc>
          </a:pPr>
          <a:r>
            <a:rPr lang="ar-MA" sz="3600" b="1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rPr>
            <a:t>اَلصَّحْنُ الصَّغيرُ</a:t>
          </a:r>
          <a:endParaRPr lang="fr-MA" sz="3600" b="1" dirty="0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gm:t>
    </dgm:pt>
    <dgm:pt modelId="{EB6C5D9A-68BF-452B-96E9-0F23C490F9A3}" type="parTrans" cxnId="{2E45EABE-6A07-4164-AE85-6F6D93AB1DDF}">
      <dgm:prSet/>
      <dgm:spPr/>
      <dgm:t>
        <a:bodyPr/>
        <a:lstStyle/>
        <a:p>
          <a:pPr rtl="1">
            <a:lnSpc>
              <a:spcPct val="100000"/>
            </a:lnSpc>
          </a:pPr>
          <a:endParaRPr lang="fr-MA" sz="3600" b="1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gm:t>
    </dgm:pt>
    <dgm:pt modelId="{F817EC7C-C22B-477C-A2C4-BBACC2925266}" type="sibTrans" cxnId="{2E45EABE-6A07-4164-AE85-6F6D93AB1DDF}">
      <dgm:prSet/>
      <dgm:spPr/>
      <dgm:t>
        <a:bodyPr/>
        <a:lstStyle/>
        <a:p>
          <a:pPr rtl="1">
            <a:lnSpc>
              <a:spcPct val="100000"/>
            </a:lnSpc>
          </a:pPr>
          <a:endParaRPr lang="fr-MA" sz="3600" b="1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gm:t>
    </dgm:pt>
    <dgm:pt modelId="{18001F4D-D792-48CE-BFB6-B69E16887331}">
      <dgm:prSet phldrT="[Texte]" phldr="0" custT="1"/>
      <dgm:spPr/>
      <dgm:t>
        <a:bodyPr/>
        <a:lstStyle/>
        <a:p>
          <a:pPr rtl="1">
            <a:lnSpc>
              <a:spcPct val="100000"/>
            </a:lnSpc>
          </a:pPr>
          <a:r>
            <a:rPr lang="ar-MA" sz="3600" b="1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rPr>
            <a:t>اَلْمَكانُ:..................</a:t>
          </a:r>
        </a:p>
        <a:p>
          <a:pPr rtl="1">
            <a:lnSpc>
              <a:spcPct val="100000"/>
            </a:lnSpc>
          </a:pPr>
          <a:r>
            <a:rPr lang="ar-MA" sz="3600" b="1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rPr>
            <a:t>................................</a:t>
          </a:r>
          <a:endParaRPr lang="fr-MA" sz="3600" b="1" dirty="0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gm:t>
    </dgm:pt>
    <dgm:pt modelId="{D670BF53-C171-458E-A32A-89BB03967FBB}" type="parTrans" cxnId="{5D132CE0-84D2-4E14-B2A6-8397D8C09F18}">
      <dgm:prSet/>
      <dgm:spPr/>
      <dgm:t>
        <a:bodyPr/>
        <a:lstStyle/>
        <a:p>
          <a:pPr rtl="1">
            <a:lnSpc>
              <a:spcPct val="100000"/>
            </a:lnSpc>
          </a:pPr>
          <a:endParaRPr lang="fr-MA" sz="3600" b="1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gm:t>
    </dgm:pt>
    <dgm:pt modelId="{0EF75722-BA8E-4CB0-B74C-61FDF0BA0274}" type="sibTrans" cxnId="{5D132CE0-84D2-4E14-B2A6-8397D8C09F18}">
      <dgm:prSet/>
      <dgm:spPr/>
      <dgm:t>
        <a:bodyPr/>
        <a:lstStyle/>
        <a:p>
          <a:pPr rtl="1">
            <a:lnSpc>
              <a:spcPct val="100000"/>
            </a:lnSpc>
          </a:pPr>
          <a:endParaRPr lang="fr-MA" sz="3600" b="1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gm:t>
    </dgm:pt>
    <dgm:pt modelId="{B358C5DC-F12D-44B0-9539-FD5150233E4D}">
      <dgm:prSet phldrT="[Texte]" phldr="0" custT="1"/>
      <dgm:spPr/>
      <dgm:t>
        <a:bodyPr/>
        <a:lstStyle/>
        <a:p>
          <a:pPr rtl="1">
            <a:lnSpc>
              <a:spcPct val="100000"/>
            </a:lnSpc>
          </a:pPr>
          <a:r>
            <a:rPr lang="ar-MA" sz="3600" b="1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rPr>
            <a:t>اَلزَّمانُ:.....................</a:t>
          </a:r>
        </a:p>
        <a:p>
          <a:pPr rtl="1">
            <a:lnSpc>
              <a:spcPct val="100000"/>
            </a:lnSpc>
          </a:pPr>
          <a:r>
            <a:rPr lang="ar-MA" sz="3600" b="1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rPr>
            <a:t>......................</a:t>
          </a:r>
          <a:endParaRPr lang="fr-MA" sz="3600" b="1" dirty="0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gm:t>
    </dgm:pt>
    <dgm:pt modelId="{E95C6A63-A16F-423B-B678-2CA9E86B3747}" type="parTrans" cxnId="{B49E3137-1260-440C-857C-D19DC65D383F}">
      <dgm:prSet/>
      <dgm:spPr/>
      <dgm:t>
        <a:bodyPr/>
        <a:lstStyle/>
        <a:p>
          <a:pPr rtl="1">
            <a:lnSpc>
              <a:spcPct val="100000"/>
            </a:lnSpc>
          </a:pPr>
          <a:endParaRPr lang="fr-MA" sz="3600" b="1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gm:t>
    </dgm:pt>
    <dgm:pt modelId="{A867D9F7-71FF-4450-A808-0F785248B15C}" type="sibTrans" cxnId="{B49E3137-1260-440C-857C-D19DC65D383F}">
      <dgm:prSet/>
      <dgm:spPr/>
      <dgm:t>
        <a:bodyPr/>
        <a:lstStyle/>
        <a:p>
          <a:pPr rtl="1">
            <a:lnSpc>
              <a:spcPct val="100000"/>
            </a:lnSpc>
          </a:pPr>
          <a:endParaRPr lang="fr-MA" sz="3600" b="1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gm:t>
    </dgm:pt>
    <dgm:pt modelId="{1DC00087-E8AE-49B2-BDB5-5A0F6CC6C0F7}">
      <dgm:prSet phldrT="[Texte]" phldr="0" custT="1"/>
      <dgm:spPr/>
      <dgm:t>
        <a:bodyPr/>
        <a:lstStyle/>
        <a:p>
          <a:pPr rtl="1">
            <a:lnSpc>
              <a:spcPct val="100000"/>
            </a:lnSpc>
          </a:pPr>
          <a:r>
            <a:rPr lang="ar-MA" sz="3600" b="1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rPr>
            <a:t>اَلْحَلُّ: .................................</a:t>
          </a:r>
        </a:p>
        <a:p>
          <a:pPr rtl="1">
            <a:lnSpc>
              <a:spcPct val="100000"/>
            </a:lnSpc>
          </a:pPr>
          <a:r>
            <a:rPr lang="ar-MA" sz="3600" b="1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rPr>
            <a:t>.....................................</a:t>
          </a:r>
          <a:endParaRPr lang="fr-MA" sz="3600" b="1" dirty="0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gm:t>
    </dgm:pt>
    <dgm:pt modelId="{D78F00A4-4180-465A-B8FE-788B9A3DF4D9}" type="parTrans" cxnId="{941962A0-A0C9-4B16-AE6A-8CBCB5A882EE}">
      <dgm:prSet/>
      <dgm:spPr/>
      <dgm:t>
        <a:bodyPr/>
        <a:lstStyle/>
        <a:p>
          <a:pPr rtl="1">
            <a:lnSpc>
              <a:spcPct val="100000"/>
            </a:lnSpc>
          </a:pPr>
          <a:endParaRPr lang="fr-MA" sz="3600" b="1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gm:t>
    </dgm:pt>
    <dgm:pt modelId="{32BC00D3-6218-4155-AF2C-5E013413EA98}" type="sibTrans" cxnId="{941962A0-A0C9-4B16-AE6A-8CBCB5A882EE}">
      <dgm:prSet/>
      <dgm:spPr/>
      <dgm:t>
        <a:bodyPr/>
        <a:lstStyle/>
        <a:p>
          <a:pPr rtl="1">
            <a:lnSpc>
              <a:spcPct val="100000"/>
            </a:lnSpc>
          </a:pPr>
          <a:endParaRPr lang="fr-MA" sz="3600" b="1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gm:t>
    </dgm:pt>
    <dgm:pt modelId="{508831DF-1D04-4033-B408-8CBAD10926AF}">
      <dgm:prSet phldrT="[Texte]" phldr="0" custT="1"/>
      <dgm:spPr/>
      <dgm:t>
        <a:bodyPr/>
        <a:lstStyle/>
        <a:p>
          <a:pPr rtl="1">
            <a:lnSpc>
              <a:spcPct val="100000"/>
            </a:lnSpc>
          </a:pPr>
          <a:r>
            <a:rPr lang="ar-MA" sz="3600" b="1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rPr>
            <a:t>اَلْمُشْكِلَةُ..........................</a:t>
          </a:r>
        </a:p>
        <a:p>
          <a:pPr rtl="1">
            <a:lnSpc>
              <a:spcPct val="100000"/>
            </a:lnSpc>
          </a:pPr>
          <a:r>
            <a:rPr lang="ar-MA" sz="3600" b="1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rPr>
            <a:t>................................</a:t>
          </a:r>
          <a:endParaRPr lang="fr-MA" sz="3600" b="1" dirty="0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gm:t>
    </dgm:pt>
    <dgm:pt modelId="{81982976-07F5-4FD7-9FAC-C3E6D751679F}" type="parTrans" cxnId="{BFA8669A-434C-491B-88D8-25637F580825}">
      <dgm:prSet/>
      <dgm:spPr/>
      <dgm:t>
        <a:bodyPr/>
        <a:lstStyle/>
        <a:p>
          <a:pPr rtl="1">
            <a:lnSpc>
              <a:spcPct val="100000"/>
            </a:lnSpc>
          </a:pPr>
          <a:endParaRPr lang="fr-MA" sz="3600" b="1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gm:t>
    </dgm:pt>
    <dgm:pt modelId="{F02C1D4F-816E-43DD-9CD1-744183F957EE}" type="sibTrans" cxnId="{BFA8669A-434C-491B-88D8-25637F580825}">
      <dgm:prSet/>
      <dgm:spPr/>
      <dgm:t>
        <a:bodyPr/>
        <a:lstStyle/>
        <a:p>
          <a:pPr rtl="1">
            <a:lnSpc>
              <a:spcPct val="100000"/>
            </a:lnSpc>
          </a:pPr>
          <a:endParaRPr lang="fr-MA" sz="3600" b="1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gm:t>
    </dgm:pt>
    <dgm:pt modelId="{E2604E00-2669-4D0E-BBB1-10B7109862B9}" type="pres">
      <dgm:prSet presAssocID="{5E957657-6452-4DBE-9B68-798212620B8D}" presName="diagram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ADB3BF3A-2870-4175-90F4-12D822A93687}" type="pres">
      <dgm:prSet presAssocID="{5E957657-6452-4DBE-9B68-798212620B8D}" presName="matrix" presStyleCnt="0"/>
      <dgm:spPr/>
    </dgm:pt>
    <dgm:pt modelId="{C8C4F009-E953-44CD-99EF-AD942024AA42}" type="pres">
      <dgm:prSet presAssocID="{5E957657-6452-4DBE-9B68-798212620B8D}" presName="tile1" presStyleLbl="node1" presStyleIdx="0" presStyleCnt="4"/>
      <dgm:spPr/>
    </dgm:pt>
    <dgm:pt modelId="{872D56A1-09A9-4CED-BF10-B7A5D50C6656}" type="pres">
      <dgm:prSet presAssocID="{5E957657-6452-4DBE-9B68-798212620B8D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10DA8C0E-0DDE-43C0-9C7F-6245AE7219CF}" type="pres">
      <dgm:prSet presAssocID="{5E957657-6452-4DBE-9B68-798212620B8D}" presName="tile2" presStyleLbl="node1" presStyleIdx="1" presStyleCnt="4"/>
      <dgm:spPr/>
    </dgm:pt>
    <dgm:pt modelId="{ADF473CE-25B2-4DFB-B146-DAEB24E121AA}" type="pres">
      <dgm:prSet presAssocID="{5E957657-6452-4DBE-9B68-798212620B8D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79926D05-A63B-4C4B-9CCB-A76E88B090D5}" type="pres">
      <dgm:prSet presAssocID="{5E957657-6452-4DBE-9B68-798212620B8D}" presName="tile3" presStyleLbl="node1" presStyleIdx="2" presStyleCnt="4"/>
      <dgm:spPr/>
    </dgm:pt>
    <dgm:pt modelId="{50917356-299A-474C-9724-F62FEA4AAA16}" type="pres">
      <dgm:prSet presAssocID="{5E957657-6452-4DBE-9B68-798212620B8D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A02415B0-CAFD-4B65-A7B1-A598593DC044}" type="pres">
      <dgm:prSet presAssocID="{5E957657-6452-4DBE-9B68-798212620B8D}" presName="tile4" presStyleLbl="node1" presStyleIdx="3" presStyleCnt="4"/>
      <dgm:spPr/>
    </dgm:pt>
    <dgm:pt modelId="{2BF89C9F-8389-4410-AA96-9FF1B43461A3}" type="pres">
      <dgm:prSet presAssocID="{5E957657-6452-4DBE-9B68-798212620B8D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A1856F3A-684C-4B53-8FF9-DB91EAA873BE}" type="pres">
      <dgm:prSet presAssocID="{5E957657-6452-4DBE-9B68-798212620B8D}" presName="centerTile" presStyleLbl="fgShp" presStyleIdx="0" presStyleCnt="1">
        <dgm:presLayoutVars>
          <dgm:chMax val="0"/>
          <dgm:chPref val="0"/>
        </dgm:presLayoutVars>
      </dgm:prSet>
      <dgm:spPr/>
    </dgm:pt>
  </dgm:ptLst>
  <dgm:cxnLst>
    <dgm:cxn modelId="{980CCB00-2350-4932-A3EF-24A9B9AB65E1}" type="presOf" srcId="{18001F4D-D792-48CE-BFB6-B69E16887331}" destId="{C8C4F009-E953-44CD-99EF-AD942024AA42}" srcOrd="0" destOrd="0" presId="urn:microsoft.com/office/officeart/2005/8/layout/matrix1"/>
    <dgm:cxn modelId="{A71A9B07-F23B-436E-925B-A91CA300294B}" type="presOf" srcId="{1DC00087-E8AE-49B2-BDB5-5A0F6CC6C0F7}" destId="{79926D05-A63B-4C4B-9CCB-A76E88B090D5}" srcOrd="0" destOrd="0" presId="urn:microsoft.com/office/officeart/2005/8/layout/matrix1"/>
    <dgm:cxn modelId="{83010612-537B-45E3-97C0-A61032787509}" type="presOf" srcId="{508831DF-1D04-4033-B408-8CBAD10926AF}" destId="{2BF89C9F-8389-4410-AA96-9FF1B43461A3}" srcOrd="1" destOrd="0" presId="urn:microsoft.com/office/officeart/2005/8/layout/matrix1"/>
    <dgm:cxn modelId="{F10AB323-B16F-4D32-A3D3-D30BE22F7EE1}" type="presOf" srcId="{B358C5DC-F12D-44B0-9539-FD5150233E4D}" destId="{10DA8C0E-0DDE-43C0-9C7F-6245AE7219CF}" srcOrd="0" destOrd="0" presId="urn:microsoft.com/office/officeart/2005/8/layout/matrix1"/>
    <dgm:cxn modelId="{4ADF9B26-4CB6-4AAB-BE2C-3B2BD56C523E}" type="presOf" srcId="{5E957657-6452-4DBE-9B68-798212620B8D}" destId="{E2604E00-2669-4D0E-BBB1-10B7109862B9}" srcOrd="0" destOrd="0" presId="urn:microsoft.com/office/officeart/2005/8/layout/matrix1"/>
    <dgm:cxn modelId="{B49E3137-1260-440C-857C-D19DC65D383F}" srcId="{47FF1F67-46D2-4237-AC2C-7BA1E1BE9F0A}" destId="{B358C5DC-F12D-44B0-9539-FD5150233E4D}" srcOrd="1" destOrd="0" parTransId="{E95C6A63-A16F-423B-B678-2CA9E86B3747}" sibTransId="{A867D9F7-71FF-4450-A808-0F785248B15C}"/>
    <dgm:cxn modelId="{BF084E61-CB85-405D-9134-4933DFE39487}" type="presOf" srcId="{18001F4D-D792-48CE-BFB6-B69E16887331}" destId="{872D56A1-09A9-4CED-BF10-B7A5D50C6656}" srcOrd="1" destOrd="0" presId="urn:microsoft.com/office/officeart/2005/8/layout/matrix1"/>
    <dgm:cxn modelId="{BFA8669A-434C-491B-88D8-25637F580825}" srcId="{47FF1F67-46D2-4237-AC2C-7BA1E1BE9F0A}" destId="{508831DF-1D04-4033-B408-8CBAD10926AF}" srcOrd="3" destOrd="0" parTransId="{81982976-07F5-4FD7-9FAC-C3E6D751679F}" sibTransId="{F02C1D4F-816E-43DD-9CD1-744183F957EE}"/>
    <dgm:cxn modelId="{941962A0-A0C9-4B16-AE6A-8CBCB5A882EE}" srcId="{47FF1F67-46D2-4237-AC2C-7BA1E1BE9F0A}" destId="{1DC00087-E8AE-49B2-BDB5-5A0F6CC6C0F7}" srcOrd="2" destOrd="0" parTransId="{D78F00A4-4180-465A-B8FE-788B9A3DF4D9}" sibTransId="{32BC00D3-6218-4155-AF2C-5E013413EA98}"/>
    <dgm:cxn modelId="{D5A36DAD-AC8A-4B00-8FF1-3379103FF001}" type="presOf" srcId="{47FF1F67-46D2-4237-AC2C-7BA1E1BE9F0A}" destId="{A1856F3A-684C-4B53-8FF9-DB91EAA873BE}" srcOrd="0" destOrd="0" presId="urn:microsoft.com/office/officeart/2005/8/layout/matrix1"/>
    <dgm:cxn modelId="{360058BE-4B30-4A76-9C34-A721393D5C9C}" type="presOf" srcId="{508831DF-1D04-4033-B408-8CBAD10926AF}" destId="{A02415B0-CAFD-4B65-A7B1-A598593DC044}" srcOrd="0" destOrd="0" presId="urn:microsoft.com/office/officeart/2005/8/layout/matrix1"/>
    <dgm:cxn modelId="{2E45EABE-6A07-4164-AE85-6F6D93AB1DDF}" srcId="{5E957657-6452-4DBE-9B68-798212620B8D}" destId="{47FF1F67-46D2-4237-AC2C-7BA1E1BE9F0A}" srcOrd="0" destOrd="0" parTransId="{EB6C5D9A-68BF-452B-96E9-0F23C490F9A3}" sibTransId="{F817EC7C-C22B-477C-A2C4-BBACC2925266}"/>
    <dgm:cxn modelId="{5D132CE0-84D2-4E14-B2A6-8397D8C09F18}" srcId="{47FF1F67-46D2-4237-AC2C-7BA1E1BE9F0A}" destId="{18001F4D-D792-48CE-BFB6-B69E16887331}" srcOrd="0" destOrd="0" parTransId="{D670BF53-C171-458E-A32A-89BB03967FBB}" sibTransId="{0EF75722-BA8E-4CB0-B74C-61FDF0BA0274}"/>
    <dgm:cxn modelId="{3821D6F9-DEF1-4215-9BE6-97450B08AB13}" type="presOf" srcId="{1DC00087-E8AE-49B2-BDB5-5A0F6CC6C0F7}" destId="{50917356-299A-474C-9724-F62FEA4AAA16}" srcOrd="1" destOrd="0" presId="urn:microsoft.com/office/officeart/2005/8/layout/matrix1"/>
    <dgm:cxn modelId="{03AA28FF-3074-4485-B3F8-B9DAD0446DE8}" type="presOf" srcId="{B358C5DC-F12D-44B0-9539-FD5150233E4D}" destId="{ADF473CE-25B2-4DFB-B146-DAEB24E121AA}" srcOrd="1" destOrd="0" presId="urn:microsoft.com/office/officeart/2005/8/layout/matrix1"/>
    <dgm:cxn modelId="{11952B3D-5766-4DB0-A65B-E76616B12665}" type="presParOf" srcId="{E2604E00-2669-4D0E-BBB1-10B7109862B9}" destId="{ADB3BF3A-2870-4175-90F4-12D822A93687}" srcOrd="0" destOrd="0" presId="urn:microsoft.com/office/officeart/2005/8/layout/matrix1"/>
    <dgm:cxn modelId="{05E2C9FC-D8AC-4710-8214-1A241807F652}" type="presParOf" srcId="{ADB3BF3A-2870-4175-90F4-12D822A93687}" destId="{C8C4F009-E953-44CD-99EF-AD942024AA42}" srcOrd="0" destOrd="0" presId="urn:microsoft.com/office/officeart/2005/8/layout/matrix1"/>
    <dgm:cxn modelId="{EBFCE268-E47C-4722-95EC-C5DE8D69EE11}" type="presParOf" srcId="{ADB3BF3A-2870-4175-90F4-12D822A93687}" destId="{872D56A1-09A9-4CED-BF10-B7A5D50C6656}" srcOrd="1" destOrd="0" presId="urn:microsoft.com/office/officeart/2005/8/layout/matrix1"/>
    <dgm:cxn modelId="{6F6F7DC7-C211-420E-BC4C-ECF3A2E4D413}" type="presParOf" srcId="{ADB3BF3A-2870-4175-90F4-12D822A93687}" destId="{10DA8C0E-0DDE-43C0-9C7F-6245AE7219CF}" srcOrd="2" destOrd="0" presId="urn:microsoft.com/office/officeart/2005/8/layout/matrix1"/>
    <dgm:cxn modelId="{3B41DBC8-8ECB-4C0B-B3A4-4ACAFD471E7F}" type="presParOf" srcId="{ADB3BF3A-2870-4175-90F4-12D822A93687}" destId="{ADF473CE-25B2-4DFB-B146-DAEB24E121AA}" srcOrd="3" destOrd="0" presId="urn:microsoft.com/office/officeart/2005/8/layout/matrix1"/>
    <dgm:cxn modelId="{5F4C362D-2EED-4091-99A1-ECCA89AE19B0}" type="presParOf" srcId="{ADB3BF3A-2870-4175-90F4-12D822A93687}" destId="{79926D05-A63B-4C4B-9CCB-A76E88B090D5}" srcOrd="4" destOrd="0" presId="urn:microsoft.com/office/officeart/2005/8/layout/matrix1"/>
    <dgm:cxn modelId="{16D37674-6497-4E67-9544-B0EC0E12413F}" type="presParOf" srcId="{ADB3BF3A-2870-4175-90F4-12D822A93687}" destId="{50917356-299A-474C-9724-F62FEA4AAA16}" srcOrd="5" destOrd="0" presId="urn:microsoft.com/office/officeart/2005/8/layout/matrix1"/>
    <dgm:cxn modelId="{68662EF3-B777-4993-A293-D99545A373C9}" type="presParOf" srcId="{ADB3BF3A-2870-4175-90F4-12D822A93687}" destId="{A02415B0-CAFD-4B65-A7B1-A598593DC044}" srcOrd="6" destOrd="0" presId="urn:microsoft.com/office/officeart/2005/8/layout/matrix1"/>
    <dgm:cxn modelId="{265E02CD-8B7F-48F8-9E9B-80C84B056E82}" type="presParOf" srcId="{ADB3BF3A-2870-4175-90F4-12D822A93687}" destId="{2BF89C9F-8389-4410-AA96-9FF1B43461A3}" srcOrd="7" destOrd="0" presId="urn:microsoft.com/office/officeart/2005/8/layout/matrix1"/>
    <dgm:cxn modelId="{A4944F82-7DF0-44F3-9C33-BFB62EE11C02}" type="presParOf" srcId="{E2604E00-2669-4D0E-BBB1-10B7109862B9}" destId="{A1856F3A-684C-4B53-8FF9-DB91EAA873BE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8C4F009-E953-44CD-99EF-AD942024AA42}">
      <dsp:nvSpPr>
        <dsp:cNvPr id="0" name=""/>
        <dsp:cNvSpPr/>
      </dsp:nvSpPr>
      <dsp:spPr>
        <a:xfrm rot="16200000">
          <a:off x="1059381" y="-1059381"/>
          <a:ext cx="1642077" cy="3760840"/>
        </a:xfrm>
        <a:prstGeom prst="round1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56032" tIns="256032" rIns="256032" bIns="256032" numCol="1" spcCol="1270" anchor="ctr" anchorCtr="0">
          <a:noAutofit/>
        </a:bodyPr>
        <a:lstStyle/>
        <a:p>
          <a:pPr marL="0" lvl="0" indent="0" algn="ctr" defTabSz="1600200" rtl="1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ar-MA" sz="3600" b="1" kern="1200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rPr>
            <a:t>اَلْمَكانُ:..................</a:t>
          </a:r>
        </a:p>
        <a:p>
          <a:pPr marL="0" lvl="0" indent="0" algn="ctr" defTabSz="1600200" rtl="1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ar-MA" sz="3600" b="1" kern="1200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rPr>
            <a:t>................................</a:t>
          </a:r>
          <a:endParaRPr lang="fr-MA" sz="3600" b="1" kern="1200" dirty="0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sp:txBody>
      <dsp:txXfrm rot="5400000">
        <a:off x="-1" y="1"/>
        <a:ext cx="3760840" cy="1231558"/>
      </dsp:txXfrm>
    </dsp:sp>
    <dsp:sp modelId="{10DA8C0E-0DDE-43C0-9C7F-6245AE7219CF}">
      <dsp:nvSpPr>
        <dsp:cNvPr id="0" name=""/>
        <dsp:cNvSpPr/>
      </dsp:nvSpPr>
      <dsp:spPr>
        <a:xfrm>
          <a:off x="3760840" y="0"/>
          <a:ext cx="3760840" cy="1642077"/>
        </a:xfrm>
        <a:prstGeom prst="round1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56032" tIns="256032" rIns="256032" bIns="256032" numCol="1" spcCol="1270" anchor="ctr" anchorCtr="0">
          <a:noAutofit/>
        </a:bodyPr>
        <a:lstStyle/>
        <a:p>
          <a:pPr marL="0" lvl="0" indent="0" algn="ctr" defTabSz="1600200" rtl="1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ar-MA" sz="3600" b="1" kern="1200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rPr>
            <a:t>اَلزَّمانُ:.....................</a:t>
          </a:r>
        </a:p>
        <a:p>
          <a:pPr marL="0" lvl="0" indent="0" algn="ctr" defTabSz="1600200" rtl="1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ar-MA" sz="3600" b="1" kern="1200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rPr>
            <a:t>......................</a:t>
          </a:r>
          <a:endParaRPr lang="fr-MA" sz="3600" b="1" kern="1200" dirty="0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sp:txBody>
      <dsp:txXfrm>
        <a:off x="3760840" y="0"/>
        <a:ext cx="3760840" cy="1231558"/>
      </dsp:txXfrm>
    </dsp:sp>
    <dsp:sp modelId="{79926D05-A63B-4C4B-9CCB-A76E88B090D5}">
      <dsp:nvSpPr>
        <dsp:cNvPr id="0" name=""/>
        <dsp:cNvSpPr/>
      </dsp:nvSpPr>
      <dsp:spPr>
        <a:xfrm rot="10800000">
          <a:off x="0" y="1642077"/>
          <a:ext cx="3760840" cy="1642077"/>
        </a:xfrm>
        <a:prstGeom prst="round1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56032" tIns="256032" rIns="256032" bIns="256032" numCol="1" spcCol="1270" anchor="ctr" anchorCtr="0">
          <a:noAutofit/>
        </a:bodyPr>
        <a:lstStyle/>
        <a:p>
          <a:pPr marL="0" lvl="0" indent="0" algn="ctr" defTabSz="1600200" rtl="1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ar-MA" sz="3600" b="1" kern="1200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rPr>
            <a:t>اَلْحَلُّ: .................................</a:t>
          </a:r>
        </a:p>
        <a:p>
          <a:pPr marL="0" lvl="0" indent="0" algn="ctr" defTabSz="1600200" rtl="1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ar-MA" sz="3600" b="1" kern="1200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rPr>
            <a:t>.....................................</a:t>
          </a:r>
          <a:endParaRPr lang="fr-MA" sz="3600" b="1" kern="1200" dirty="0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sp:txBody>
      <dsp:txXfrm rot="10800000">
        <a:off x="0" y="2052597"/>
        <a:ext cx="3760840" cy="1231558"/>
      </dsp:txXfrm>
    </dsp:sp>
    <dsp:sp modelId="{A02415B0-CAFD-4B65-A7B1-A598593DC044}">
      <dsp:nvSpPr>
        <dsp:cNvPr id="0" name=""/>
        <dsp:cNvSpPr/>
      </dsp:nvSpPr>
      <dsp:spPr>
        <a:xfrm rot="5400000">
          <a:off x="4820221" y="582696"/>
          <a:ext cx="1642077" cy="3760840"/>
        </a:xfrm>
        <a:prstGeom prst="round1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56032" tIns="256032" rIns="256032" bIns="256032" numCol="1" spcCol="1270" anchor="ctr" anchorCtr="0">
          <a:noAutofit/>
        </a:bodyPr>
        <a:lstStyle/>
        <a:p>
          <a:pPr marL="0" lvl="0" indent="0" algn="ctr" defTabSz="1600200" rtl="1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ar-MA" sz="3600" b="1" kern="1200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rPr>
            <a:t>اَلْمُشْكِلَةُ..........................</a:t>
          </a:r>
        </a:p>
        <a:p>
          <a:pPr marL="0" lvl="0" indent="0" algn="ctr" defTabSz="1600200" rtl="1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ar-MA" sz="3600" b="1" kern="1200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rPr>
            <a:t>................................</a:t>
          </a:r>
          <a:endParaRPr lang="fr-MA" sz="3600" b="1" kern="1200" dirty="0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sp:txBody>
      <dsp:txXfrm rot="-5400000">
        <a:off x="3760839" y="2052597"/>
        <a:ext cx="3760840" cy="1231558"/>
      </dsp:txXfrm>
    </dsp:sp>
    <dsp:sp modelId="{A1856F3A-684C-4B53-8FF9-DB91EAA873BE}">
      <dsp:nvSpPr>
        <dsp:cNvPr id="0" name=""/>
        <dsp:cNvSpPr/>
      </dsp:nvSpPr>
      <dsp:spPr>
        <a:xfrm>
          <a:off x="2632588" y="1231558"/>
          <a:ext cx="2256504" cy="821038"/>
        </a:xfrm>
        <a:prstGeom prst="roundRect">
          <a:avLst/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/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ctr" defTabSz="1600200" rtl="1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ar-MA" sz="3600" b="1" kern="1200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rPr>
            <a:t>اَلصَّحْنُ الصَّغيرُ</a:t>
          </a:r>
          <a:endParaRPr lang="fr-MA" sz="3600" b="1" kern="1200" dirty="0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sp:txBody>
      <dsp:txXfrm>
        <a:off x="2672668" y="1271638"/>
        <a:ext cx="2176344" cy="74087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8C4F009-E953-44CD-99EF-AD942024AA42}">
      <dsp:nvSpPr>
        <dsp:cNvPr id="0" name=""/>
        <dsp:cNvSpPr/>
      </dsp:nvSpPr>
      <dsp:spPr>
        <a:xfrm rot="16200000">
          <a:off x="1059381" y="-1059381"/>
          <a:ext cx="1642077" cy="3760840"/>
        </a:xfrm>
        <a:prstGeom prst="round1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56032" tIns="256032" rIns="256032" bIns="256032" numCol="1" spcCol="1270" anchor="ctr" anchorCtr="0">
          <a:noAutofit/>
        </a:bodyPr>
        <a:lstStyle/>
        <a:p>
          <a:pPr marL="0" lvl="0" indent="0" algn="ctr" defTabSz="1600200" rtl="1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ar-MA" sz="3600" b="1" kern="1200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rPr>
            <a:t>اَلْمَكانُ:..................</a:t>
          </a:r>
        </a:p>
        <a:p>
          <a:pPr marL="0" lvl="0" indent="0" algn="ctr" defTabSz="1600200" rtl="1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ar-MA" sz="3600" b="1" kern="1200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rPr>
            <a:t>................................</a:t>
          </a:r>
          <a:endParaRPr lang="fr-MA" sz="3600" b="1" kern="1200" dirty="0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sp:txBody>
      <dsp:txXfrm rot="5400000">
        <a:off x="-1" y="1"/>
        <a:ext cx="3760840" cy="1231558"/>
      </dsp:txXfrm>
    </dsp:sp>
    <dsp:sp modelId="{10DA8C0E-0DDE-43C0-9C7F-6245AE7219CF}">
      <dsp:nvSpPr>
        <dsp:cNvPr id="0" name=""/>
        <dsp:cNvSpPr/>
      </dsp:nvSpPr>
      <dsp:spPr>
        <a:xfrm>
          <a:off x="3760840" y="0"/>
          <a:ext cx="3760840" cy="1642077"/>
        </a:xfrm>
        <a:prstGeom prst="round1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56032" tIns="256032" rIns="256032" bIns="256032" numCol="1" spcCol="1270" anchor="ctr" anchorCtr="0">
          <a:noAutofit/>
        </a:bodyPr>
        <a:lstStyle/>
        <a:p>
          <a:pPr marL="0" lvl="0" indent="0" algn="ctr" defTabSz="1600200" rtl="1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ar-MA" sz="3600" b="1" kern="1200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rPr>
            <a:t>اَلزَّمانُ:.....................</a:t>
          </a:r>
        </a:p>
        <a:p>
          <a:pPr marL="0" lvl="0" indent="0" algn="ctr" defTabSz="1600200" rtl="1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ar-MA" sz="3600" b="1" kern="1200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rPr>
            <a:t>......................</a:t>
          </a:r>
          <a:endParaRPr lang="fr-MA" sz="3600" b="1" kern="1200" dirty="0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sp:txBody>
      <dsp:txXfrm>
        <a:off x="3760840" y="0"/>
        <a:ext cx="3760840" cy="1231558"/>
      </dsp:txXfrm>
    </dsp:sp>
    <dsp:sp modelId="{79926D05-A63B-4C4B-9CCB-A76E88B090D5}">
      <dsp:nvSpPr>
        <dsp:cNvPr id="0" name=""/>
        <dsp:cNvSpPr/>
      </dsp:nvSpPr>
      <dsp:spPr>
        <a:xfrm rot="10800000">
          <a:off x="0" y="1642077"/>
          <a:ext cx="3760840" cy="1642077"/>
        </a:xfrm>
        <a:prstGeom prst="round1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56032" tIns="256032" rIns="256032" bIns="256032" numCol="1" spcCol="1270" anchor="ctr" anchorCtr="0">
          <a:noAutofit/>
        </a:bodyPr>
        <a:lstStyle/>
        <a:p>
          <a:pPr marL="0" lvl="0" indent="0" algn="ctr" defTabSz="1600200" rtl="1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ar-MA" sz="3600" b="1" kern="1200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rPr>
            <a:t>اَلْحَلُّ: .................................</a:t>
          </a:r>
        </a:p>
        <a:p>
          <a:pPr marL="0" lvl="0" indent="0" algn="ctr" defTabSz="1600200" rtl="1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ar-MA" sz="3600" b="1" kern="1200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rPr>
            <a:t>.....................................</a:t>
          </a:r>
          <a:endParaRPr lang="fr-MA" sz="3600" b="1" kern="1200" dirty="0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sp:txBody>
      <dsp:txXfrm rot="10800000">
        <a:off x="0" y="2052597"/>
        <a:ext cx="3760840" cy="1231558"/>
      </dsp:txXfrm>
    </dsp:sp>
    <dsp:sp modelId="{A02415B0-CAFD-4B65-A7B1-A598593DC044}">
      <dsp:nvSpPr>
        <dsp:cNvPr id="0" name=""/>
        <dsp:cNvSpPr/>
      </dsp:nvSpPr>
      <dsp:spPr>
        <a:xfrm rot="5400000">
          <a:off x="4820221" y="582696"/>
          <a:ext cx="1642077" cy="3760840"/>
        </a:xfrm>
        <a:prstGeom prst="round1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56032" tIns="256032" rIns="256032" bIns="256032" numCol="1" spcCol="1270" anchor="ctr" anchorCtr="0">
          <a:noAutofit/>
        </a:bodyPr>
        <a:lstStyle/>
        <a:p>
          <a:pPr marL="0" lvl="0" indent="0" algn="ctr" defTabSz="1600200" rtl="1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ar-MA" sz="3600" b="1" kern="1200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rPr>
            <a:t>اَلْمُشْكِلَةُ..........................</a:t>
          </a:r>
        </a:p>
        <a:p>
          <a:pPr marL="0" lvl="0" indent="0" algn="ctr" defTabSz="1600200" rtl="1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ar-MA" sz="3600" b="1" kern="1200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rPr>
            <a:t>................................</a:t>
          </a:r>
          <a:endParaRPr lang="fr-MA" sz="3600" b="1" kern="1200" dirty="0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sp:txBody>
      <dsp:txXfrm rot="-5400000">
        <a:off x="3760839" y="2052597"/>
        <a:ext cx="3760840" cy="1231558"/>
      </dsp:txXfrm>
    </dsp:sp>
    <dsp:sp modelId="{A1856F3A-684C-4B53-8FF9-DB91EAA873BE}">
      <dsp:nvSpPr>
        <dsp:cNvPr id="0" name=""/>
        <dsp:cNvSpPr/>
      </dsp:nvSpPr>
      <dsp:spPr>
        <a:xfrm>
          <a:off x="2632588" y="1231558"/>
          <a:ext cx="2256504" cy="821038"/>
        </a:xfrm>
        <a:prstGeom prst="roundRect">
          <a:avLst/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/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ctr" defTabSz="1600200" rtl="1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ar-MA" sz="3600" b="1" kern="1200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rPr>
            <a:t>اَلصَّحْنُ الصَّغيرُ</a:t>
          </a:r>
          <a:endParaRPr lang="fr-MA" sz="3600" b="1" kern="1200" dirty="0">
            <a:solidFill>
              <a:srgbClr val="424D7C"/>
            </a:solidFill>
            <a:latin typeface="Microsoft Uighur" panose="02000000000000000000" pitchFamily="2" charset="-78"/>
            <a:cs typeface="Microsoft Uighur" panose="02000000000000000000" pitchFamily="2" charset="-78"/>
          </a:endParaRPr>
        </a:p>
      </dsp:txBody>
      <dsp:txXfrm>
        <a:off x="2672668" y="1271638"/>
        <a:ext cx="2176344" cy="74087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Microsoft Uighur" panose="02000000000000000000" pitchFamily="2" charset="-78"/>
              </a:defRPr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Microsoft Uighur" panose="02000000000000000000" pitchFamily="2" charset="-78"/>
              </a:defRPr>
            </a:lvl1pPr>
          </a:lstStyle>
          <a:p>
            <a:fld id="{C7DCA217-871D-4D7F-8D59-C83A4C9C5EB2}" type="datetimeFigureOut">
              <a:rPr lang="fr-FR" smtClean="0"/>
              <a:pPr/>
              <a:t>21/11/2025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Microsoft Uighur" panose="02000000000000000000" pitchFamily="2" charset="-78"/>
              </a:defRPr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Microsoft Uighur" panose="02000000000000000000" pitchFamily="2" charset="-78"/>
              </a:defRPr>
            </a:lvl1pPr>
          </a:lstStyle>
          <a:p>
            <a:fld id="{9023364E-F43C-462A-A32F-C389FF427F4A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469174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Microsoft Uighur" panose="02000000000000000000" pitchFamily="2" charset="-78"/>
        <a:ea typeface="+mn-ea"/>
        <a:cs typeface="+mn-cs"/>
      </a:defRPr>
    </a:lvl1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8.png"/><Relationship Id="rId5" Type="http://schemas.microsoft.com/office/2007/relationships/hdphoto" Target="../media/hdphoto3.wdp"/><Relationship Id="rId4" Type="http://schemas.openxmlformats.org/officeDocument/2006/relationships/image" Target="../media/image17.png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.png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7.png"/></Relationships>
</file>

<file path=ppt/slideLayouts/_rels/slideLayout1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microsoft.com/office/2007/relationships/hdphoto" Target="../media/hdphoto1.wdp"/><Relationship Id="rId7" Type="http://schemas.openxmlformats.org/officeDocument/2006/relationships/image" Target="../media/image1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Relationship Id="rId6" Type="http://schemas.microsoft.com/office/2007/relationships/hdphoto" Target="../media/hdphoto2.wdp"/><Relationship Id="rId5" Type="http://schemas.openxmlformats.org/officeDocument/2006/relationships/image" Target="../media/image9.png"/><Relationship Id="rId4" Type="http://schemas.openxmlformats.org/officeDocument/2006/relationships/image" Target="../media/image19.png"/><Relationship Id="rId9" Type="http://schemas.microsoft.com/office/2007/relationships/hdphoto" Target="../media/hdphoto4.wdp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7.png"/></Relationships>
</file>

<file path=ppt/slideLayouts/_rels/slideLayout1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microsoft.com/office/2007/relationships/hdphoto" Target="../media/hdphoto1.wdp"/><Relationship Id="rId7" Type="http://schemas.openxmlformats.org/officeDocument/2006/relationships/image" Target="../media/image1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Relationship Id="rId6" Type="http://schemas.microsoft.com/office/2007/relationships/hdphoto" Target="../media/hdphoto2.wdp"/><Relationship Id="rId5" Type="http://schemas.openxmlformats.org/officeDocument/2006/relationships/image" Target="../media/image9.png"/><Relationship Id="rId4" Type="http://schemas.openxmlformats.org/officeDocument/2006/relationships/image" Target="../media/image19.png"/><Relationship Id="rId9" Type="http://schemas.microsoft.com/office/2007/relationships/hdphoto" Target="../media/hdphoto4.wdp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9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0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8.png"/><Relationship Id="rId7" Type="http://schemas.openxmlformats.org/officeDocument/2006/relationships/image" Target="../media/image10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4.xml"/><Relationship Id="rId6" Type="http://schemas.microsoft.com/office/2007/relationships/hdphoto" Target="../media/hdphoto2.wdp"/><Relationship Id="rId5" Type="http://schemas.openxmlformats.org/officeDocument/2006/relationships/image" Target="../media/image9.png"/><Relationship Id="rId10" Type="http://schemas.microsoft.com/office/2007/relationships/hdphoto" Target="../media/hdphoto4.wdp"/><Relationship Id="rId4" Type="http://schemas.microsoft.com/office/2007/relationships/hdphoto" Target="../media/hdphoto1.wdp"/><Relationship Id="rId9" Type="http://schemas.openxmlformats.org/officeDocument/2006/relationships/image" Target="../media/image11.png"/></Relationships>
</file>

<file path=ppt/slideLayouts/_rels/slideLayout68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8.png"/><Relationship Id="rId7" Type="http://schemas.openxmlformats.org/officeDocument/2006/relationships/image" Target="../media/image10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4.xml"/><Relationship Id="rId6" Type="http://schemas.microsoft.com/office/2007/relationships/hdphoto" Target="../media/hdphoto2.wdp"/><Relationship Id="rId5" Type="http://schemas.openxmlformats.org/officeDocument/2006/relationships/image" Target="../media/image9.png"/><Relationship Id="rId10" Type="http://schemas.microsoft.com/office/2007/relationships/hdphoto" Target="../media/hdphoto4.wdp"/><Relationship Id="rId4" Type="http://schemas.microsoft.com/office/2007/relationships/hdphoto" Target="../media/hdphoto1.wdp"/><Relationship Id="rId9" Type="http://schemas.openxmlformats.org/officeDocument/2006/relationships/image" Target="../media/image11.png"/></Relationships>
</file>

<file path=ppt/slideLayouts/_rels/slideLayout69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8.png"/><Relationship Id="rId7" Type="http://schemas.openxmlformats.org/officeDocument/2006/relationships/image" Target="../media/image10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4.xml"/><Relationship Id="rId6" Type="http://schemas.microsoft.com/office/2007/relationships/hdphoto" Target="../media/hdphoto2.wdp"/><Relationship Id="rId5" Type="http://schemas.openxmlformats.org/officeDocument/2006/relationships/image" Target="../media/image9.png"/><Relationship Id="rId10" Type="http://schemas.microsoft.com/office/2007/relationships/hdphoto" Target="../media/hdphoto4.wdp"/><Relationship Id="rId4" Type="http://schemas.microsoft.com/office/2007/relationships/hdphoto" Target="../media/hdphoto1.wdp"/><Relationship Id="rId9" Type="http://schemas.openxmlformats.org/officeDocument/2006/relationships/image" Target="../media/image11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8.png"/><Relationship Id="rId7" Type="http://schemas.openxmlformats.org/officeDocument/2006/relationships/image" Target="../media/image10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4.xml"/><Relationship Id="rId6" Type="http://schemas.microsoft.com/office/2007/relationships/hdphoto" Target="../media/hdphoto2.wdp"/><Relationship Id="rId5" Type="http://schemas.openxmlformats.org/officeDocument/2006/relationships/image" Target="../media/image9.png"/><Relationship Id="rId10" Type="http://schemas.microsoft.com/office/2007/relationships/hdphoto" Target="../media/hdphoto4.wdp"/><Relationship Id="rId4" Type="http://schemas.microsoft.com/office/2007/relationships/hdphoto" Target="../media/hdphoto1.wdp"/><Relationship Id="rId9" Type="http://schemas.openxmlformats.org/officeDocument/2006/relationships/image" Target="../media/image11.png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microsoft.com/office/2007/relationships/hdphoto" Target="../media/hdphoto1.wdp"/><Relationship Id="rId7" Type="http://schemas.microsoft.com/office/2007/relationships/hdphoto" Target="../media/hdphoto3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0.png"/><Relationship Id="rId5" Type="http://schemas.microsoft.com/office/2007/relationships/hdphoto" Target="../media/hdphoto2.wdp"/><Relationship Id="rId4" Type="http://schemas.openxmlformats.org/officeDocument/2006/relationships/image" Target="../media/image9.png"/><Relationship Id="rId9" Type="http://schemas.microsoft.com/office/2007/relationships/hdphoto" Target="../media/hdphoto4.wdp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microsoft.com/office/2007/relationships/hdphoto" Target="../media/hdphoto1.wdp"/><Relationship Id="rId7" Type="http://schemas.microsoft.com/office/2007/relationships/hdphoto" Target="../media/hdphoto3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0.png"/><Relationship Id="rId5" Type="http://schemas.microsoft.com/office/2007/relationships/hdphoto" Target="../media/hdphoto2.wdp"/><Relationship Id="rId4" Type="http://schemas.openxmlformats.org/officeDocument/2006/relationships/image" Target="../media/image9.png"/><Relationship Id="rId9" Type="http://schemas.microsoft.com/office/2007/relationships/hdphoto" Target="../media/hdphoto4.wdp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microsoft.com/office/2007/relationships/hdphoto" Target="../media/hdphoto1.wdp"/><Relationship Id="rId7" Type="http://schemas.microsoft.com/office/2007/relationships/hdphoto" Target="../media/hdphoto3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0.png"/><Relationship Id="rId5" Type="http://schemas.microsoft.com/office/2007/relationships/hdphoto" Target="../media/hdphoto2.wdp"/><Relationship Id="rId4" Type="http://schemas.openxmlformats.org/officeDocument/2006/relationships/image" Target="../media/image9.png"/><Relationship Id="rId9" Type="http://schemas.microsoft.com/office/2007/relationships/hdphoto" Target="../media/hdphoto4.wdp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microsoft.com/office/2007/relationships/hdphoto" Target="../media/hdphoto1.wdp"/><Relationship Id="rId7" Type="http://schemas.microsoft.com/office/2007/relationships/hdphoto" Target="../media/hdphoto4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1.png"/><Relationship Id="rId5" Type="http://schemas.microsoft.com/office/2007/relationships/hdphoto" Target="../media/hdphoto3.wdp"/><Relationship Id="rId4" Type="http://schemas.openxmlformats.org/officeDocument/2006/relationships/image" Target="../media/image10.png"/><Relationship Id="rId9" Type="http://schemas.microsoft.com/office/2007/relationships/hdphoto" Target="../media/hdphoto2.wdp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png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bg>
      <p:bgPr>
        <a:blipFill dpi="0" rotWithShape="1">
          <a:blip r:embed="rId2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27723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Cliquez sur l'icône pour ajouter une imag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21/11/2025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9064422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0_Titre et contenu libre">
    <p:bg>
      <p:bgPr>
        <a:blipFill dpi="0" rotWithShape="1">
          <a:blip r:embed="rId2">
            <a:lum/>
          </a:blip>
          <a:srcRect/>
          <a:stretch>
            <a:fillRect l="-3000" t="-3000" r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615686-FD6D-D9AF-A708-1A5B6B3571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950012"/>
            <a:ext cx="7886700" cy="720000"/>
          </a:xfrm>
          <a:prstGeom prst="rect">
            <a:avLst/>
          </a:prstGeom>
        </p:spPr>
        <p:txBody>
          <a:bodyPr anchor="ctr"/>
          <a:lstStyle>
            <a:lvl1pPr algn="ctr" rtl="1">
              <a:defRPr sz="40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056037698"/>
      </p:ext>
    </p:extLst>
  </p:cSld>
  <p:clrMapOvr>
    <a:masterClrMapping/>
  </p:clrMapOvr>
  <p:transition spd="slow"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 libre">
    <p:bg>
      <p:bgPr>
        <a:blipFill dpi="0" rotWithShape="1">
          <a:blip r:embed="rId2">
            <a:lum/>
          </a:blip>
          <a:srcRect/>
          <a:stretch>
            <a:fillRect l="-3000" t="-3000" r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615686-FD6D-D9AF-A708-1A5B6B3571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950012"/>
            <a:ext cx="7886700" cy="720000"/>
          </a:xfrm>
          <a:prstGeom prst="rect">
            <a:avLst/>
          </a:prstGeom>
        </p:spPr>
        <p:txBody>
          <a:bodyPr anchor="ctr"/>
          <a:lstStyle>
            <a:lvl1pPr algn="ctr" rtl="1">
              <a:defRPr sz="40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1C52B976-EFAE-42E7-29AC-478BA2E1BD5D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1692000" y="1693586"/>
            <a:ext cx="5760000" cy="3240000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036985428"/>
      </p:ext>
    </p:extLst>
  </p:cSld>
  <p:clrMapOvr>
    <a:masterClrMapping/>
  </p:clrMapOvr>
  <p:transition spd="slow"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et contenu libre">
    <p:bg>
      <p:bgPr>
        <a:blipFill dpi="0" rotWithShape="1">
          <a:blip r:embed="rId2">
            <a:lum/>
          </a:blip>
          <a:srcRect/>
          <a:stretch>
            <a:fillRect l="-3000" t="-3000" r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615686-FD6D-D9AF-A708-1A5B6B3571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950012"/>
            <a:ext cx="7886700" cy="720000"/>
          </a:xfrm>
          <a:prstGeom prst="rect">
            <a:avLst/>
          </a:prstGeom>
        </p:spPr>
        <p:txBody>
          <a:bodyPr anchor="ctr"/>
          <a:lstStyle>
            <a:lvl1pPr algn="ctr" rtl="1">
              <a:defRPr sz="40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5" name="Espace réservé du texte 29">
            <a:extLst>
              <a:ext uri="{FF2B5EF4-FFF2-40B4-BE49-F238E27FC236}">
                <a16:creationId xmlns:a16="http://schemas.microsoft.com/office/drawing/2014/main" id="{875F7547-AE65-F045-895D-8058BAE96BF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771647" y="2348166"/>
            <a:ext cx="5600701" cy="2676585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8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1F750240-B25D-E826-2FC6-DD63E86DFD1C}"/>
              </a:ext>
            </a:extLst>
          </p:cNvPr>
          <p:cNvSpPr/>
          <p:nvPr userDrawn="1"/>
        </p:nvSpPr>
        <p:spPr>
          <a:xfrm>
            <a:off x="1006250" y="2348166"/>
            <a:ext cx="7131497" cy="2693854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191985752"/>
      </p:ext>
    </p:extLst>
  </p:cSld>
  <p:clrMapOvr>
    <a:masterClrMapping/>
  </p:clrMapOvr>
  <p:transition spd="slow"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Espace réservé du texte 29">
            <a:extLst>
              <a:ext uri="{FF2B5EF4-FFF2-40B4-BE49-F238E27FC236}">
                <a16:creationId xmlns:a16="http://schemas.microsoft.com/office/drawing/2014/main" id="{803D4A87-566A-9735-A2B9-04DD3B1646D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80764" y="4543360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69" name="Espace réservé du texte 29">
            <a:extLst>
              <a:ext uri="{FF2B5EF4-FFF2-40B4-BE49-F238E27FC236}">
                <a16:creationId xmlns:a16="http://schemas.microsoft.com/office/drawing/2014/main" id="{AC10C698-6C83-20D2-F92B-A3155E47AAF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80764" y="3213619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56" name="Espace réservé du texte 29">
            <a:extLst>
              <a:ext uri="{FF2B5EF4-FFF2-40B4-BE49-F238E27FC236}">
                <a16:creationId xmlns:a16="http://schemas.microsoft.com/office/drawing/2014/main" id="{33AE7A0F-BFA5-923E-41DE-E0CB8B1CF64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80764" y="1883878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id="{598AFD82-84B7-B929-78D2-789C3F8CCBA9}"/>
              </a:ext>
            </a:extLst>
          </p:cNvPr>
          <p:cNvSpPr txBox="1">
            <a:spLocks/>
          </p:cNvSpPr>
          <p:nvPr userDrawn="1"/>
        </p:nvSpPr>
        <p:spPr>
          <a:xfrm>
            <a:off x="628650" y="834502"/>
            <a:ext cx="7886700" cy="523782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565F8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هيكلة حصة اليوم</a:t>
            </a:r>
          </a:p>
        </p:txBody>
      </p:sp>
      <p:sp>
        <p:nvSpPr>
          <p:cNvPr id="51" name="Rectangle : coins arrondis 50">
            <a:extLst>
              <a:ext uri="{FF2B5EF4-FFF2-40B4-BE49-F238E27FC236}">
                <a16:creationId xmlns:a16="http://schemas.microsoft.com/office/drawing/2014/main" id="{29DAEA41-5D00-ED34-D554-A529177F4182}"/>
              </a:ext>
            </a:extLst>
          </p:cNvPr>
          <p:cNvSpPr/>
          <p:nvPr userDrawn="1"/>
        </p:nvSpPr>
        <p:spPr>
          <a:xfrm>
            <a:off x="710977" y="1883878"/>
            <a:ext cx="7131497" cy="900000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53" name="Espace réservé pour une image  52">
            <a:extLst>
              <a:ext uri="{FF2B5EF4-FFF2-40B4-BE49-F238E27FC236}">
                <a16:creationId xmlns:a16="http://schemas.microsoft.com/office/drawing/2014/main" id="{811D769F-9534-D48A-505E-F22FF98BB4F8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7050474" y="1937878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pic>
        <p:nvPicPr>
          <p:cNvPr id="58" name="Image 57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id="{9AB06E90-B23B-155F-6B3F-49C06FBECA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1648289"/>
            <a:ext cx="2234716" cy="360000"/>
          </a:xfrm>
          <a:prstGeom prst="rect">
            <a:avLst/>
          </a:prstGeom>
        </p:spPr>
      </p:pic>
      <p:sp>
        <p:nvSpPr>
          <p:cNvPr id="67" name="Rectangle : coins arrondis 66">
            <a:extLst>
              <a:ext uri="{FF2B5EF4-FFF2-40B4-BE49-F238E27FC236}">
                <a16:creationId xmlns:a16="http://schemas.microsoft.com/office/drawing/2014/main" id="{E167E433-320B-2546-9D52-C395FCA750E1}"/>
              </a:ext>
            </a:extLst>
          </p:cNvPr>
          <p:cNvSpPr/>
          <p:nvPr userDrawn="1"/>
        </p:nvSpPr>
        <p:spPr>
          <a:xfrm>
            <a:off x="710977" y="3213619"/>
            <a:ext cx="7131497" cy="900000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68" name="Espace réservé pour une image  52">
            <a:extLst>
              <a:ext uri="{FF2B5EF4-FFF2-40B4-BE49-F238E27FC236}">
                <a16:creationId xmlns:a16="http://schemas.microsoft.com/office/drawing/2014/main" id="{F0B98AD8-84F5-043C-2955-B0BA40A1426D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7050474" y="3267619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pic>
        <p:nvPicPr>
          <p:cNvPr id="70" name="Image 69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id="{62318FFC-403A-B3A7-7424-E3A03ACA88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7757" y="2978030"/>
            <a:ext cx="2234716" cy="360000"/>
          </a:xfrm>
          <a:prstGeom prst="rect">
            <a:avLst/>
          </a:prstGeom>
        </p:spPr>
      </p:pic>
      <p:sp>
        <p:nvSpPr>
          <p:cNvPr id="71" name="Rectangle 70">
            <a:extLst>
              <a:ext uri="{FF2B5EF4-FFF2-40B4-BE49-F238E27FC236}">
                <a16:creationId xmlns:a16="http://schemas.microsoft.com/office/drawing/2014/main" id="{9237A4E0-D5C4-0422-6D15-31DB08B93CC3}"/>
              </a:ext>
            </a:extLst>
          </p:cNvPr>
          <p:cNvSpPr>
            <a:spLocks noChangeAspect="1"/>
          </p:cNvSpPr>
          <p:nvPr userDrawn="1"/>
        </p:nvSpPr>
        <p:spPr>
          <a:xfrm>
            <a:off x="4527757" y="2978030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2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معجم</a:t>
            </a:r>
          </a:p>
        </p:txBody>
      </p:sp>
      <p:sp>
        <p:nvSpPr>
          <p:cNvPr id="82" name="Rectangle : coins arrondis 81">
            <a:extLst>
              <a:ext uri="{FF2B5EF4-FFF2-40B4-BE49-F238E27FC236}">
                <a16:creationId xmlns:a16="http://schemas.microsoft.com/office/drawing/2014/main" id="{30D8AE50-417D-45B7-9122-F3958F0C4C71}"/>
              </a:ext>
            </a:extLst>
          </p:cNvPr>
          <p:cNvSpPr/>
          <p:nvPr userDrawn="1"/>
        </p:nvSpPr>
        <p:spPr>
          <a:xfrm>
            <a:off x="710977" y="4543360"/>
            <a:ext cx="7131497" cy="900000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83" name="Espace réservé pour une image  52">
            <a:extLst>
              <a:ext uri="{FF2B5EF4-FFF2-40B4-BE49-F238E27FC236}">
                <a16:creationId xmlns:a16="http://schemas.microsoft.com/office/drawing/2014/main" id="{7C35F609-A4E7-22C1-7015-E75100C5AE06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7050474" y="4597360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pic>
        <p:nvPicPr>
          <p:cNvPr id="85" name="Image 84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id="{29673C02-277D-EE04-8BD0-FF1AD64690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7757" y="4307771"/>
            <a:ext cx="2234716" cy="360000"/>
          </a:xfrm>
          <a:prstGeom prst="rect">
            <a:avLst/>
          </a:prstGeom>
        </p:spPr>
      </p:pic>
      <p:sp>
        <p:nvSpPr>
          <p:cNvPr id="86" name="Rectangle 85">
            <a:extLst>
              <a:ext uri="{FF2B5EF4-FFF2-40B4-BE49-F238E27FC236}">
                <a16:creationId xmlns:a16="http://schemas.microsoft.com/office/drawing/2014/main" id="{1AD1ECCD-64D7-5EF6-049C-A9EDBD4562CD}"/>
              </a:ext>
            </a:extLst>
          </p:cNvPr>
          <p:cNvSpPr>
            <a:spLocks noChangeAspect="1"/>
          </p:cNvSpPr>
          <p:nvPr userDrawn="1"/>
        </p:nvSpPr>
        <p:spPr>
          <a:xfrm>
            <a:off x="4527757" y="4307771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3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 استماع وتحدث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22662878-670D-4431-C83A-4C800DE81E79}"/>
              </a:ext>
            </a:extLst>
          </p:cNvPr>
          <p:cNvSpPr>
            <a:spLocks noChangeAspect="1"/>
          </p:cNvSpPr>
          <p:nvPr userDrawn="1"/>
        </p:nvSpPr>
        <p:spPr>
          <a:xfrm>
            <a:off x="4634401" y="1648289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1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</p:spTree>
    <p:extLst>
      <p:ext uri="{BB962C8B-B14F-4D97-AF65-F5344CB8AC3E}">
        <p14:creationId xmlns:p14="http://schemas.microsoft.com/office/powerpoint/2010/main" val="1116815460"/>
      </p:ext>
    </p:extLst>
  </p:cSld>
  <p:clrMapOvr>
    <a:masterClrMapping/>
  </p:clrMapOvr>
  <p:transition spd="slow"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Espace réservé du texte 29">
            <a:extLst>
              <a:ext uri="{FF2B5EF4-FFF2-40B4-BE49-F238E27FC236}">
                <a16:creationId xmlns:a16="http://schemas.microsoft.com/office/drawing/2014/main" id="{33AE7A0F-BFA5-923E-41DE-E0CB8B1CF64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80764" y="1883878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69" name="Espace réservé du texte 29">
            <a:extLst>
              <a:ext uri="{FF2B5EF4-FFF2-40B4-BE49-F238E27FC236}">
                <a16:creationId xmlns:a16="http://schemas.microsoft.com/office/drawing/2014/main" id="{AC10C698-6C83-20D2-F92B-A3155E47AAF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80764" y="3213619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84" name="Espace réservé du texte 29">
            <a:extLst>
              <a:ext uri="{FF2B5EF4-FFF2-40B4-BE49-F238E27FC236}">
                <a16:creationId xmlns:a16="http://schemas.microsoft.com/office/drawing/2014/main" id="{803D4A87-566A-9735-A2B9-04DD3B1646D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80764" y="4543360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id="{598AFD82-84B7-B929-78D2-789C3F8CCBA9}"/>
              </a:ext>
            </a:extLst>
          </p:cNvPr>
          <p:cNvSpPr txBox="1">
            <a:spLocks/>
          </p:cNvSpPr>
          <p:nvPr userDrawn="1"/>
        </p:nvSpPr>
        <p:spPr>
          <a:xfrm>
            <a:off x="628650" y="834502"/>
            <a:ext cx="7886700" cy="523782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565F8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هيكلة حصة اليوم</a:t>
            </a:r>
          </a:p>
        </p:txBody>
      </p:sp>
      <p:sp>
        <p:nvSpPr>
          <p:cNvPr id="51" name="Rectangle : coins arrondis 50">
            <a:extLst>
              <a:ext uri="{FF2B5EF4-FFF2-40B4-BE49-F238E27FC236}">
                <a16:creationId xmlns:a16="http://schemas.microsoft.com/office/drawing/2014/main" id="{29DAEA41-5D00-ED34-D554-A529177F4182}"/>
              </a:ext>
            </a:extLst>
          </p:cNvPr>
          <p:cNvSpPr/>
          <p:nvPr userDrawn="1"/>
        </p:nvSpPr>
        <p:spPr>
          <a:xfrm>
            <a:off x="710977" y="1883878"/>
            <a:ext cx="7131497" cy="900000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53" name="Espace réservé pour une image  52">
            <a:extLst>
              <a:ext uri="{FF2B5EF4-FFF2-40B4-BE49-F238E27FC236}">
                <a16:creationId xmlns:a16="http://schemas.microsoft.com/office/drawing/2014/main" id="{811D769F-9534-D48A-505E-F22FF98BB4F8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7050474" y="1937878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pic>
        <p:nvPicPr>
          <p:cNvPr id="58" name="Image 57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id="{9AB06E90-B23B-155F-6B3F-49C06FBECA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7757" y="1648289"/>
            <a:ext cx="2234716" cy="360000"/>
          </a:xfrm>
          <a:prstGeom prst="rect">
            <a:avLst/>
          </a:prstGeom>
        </p:spPr>
      </p:pic>
      <p:sp>
        <p:nvSpPr>
          <p:cNvPr id="59" name="Rectangle 58">
            <a:extLst>
              <a:ext uri="{FF2B5EF4-FFF2-40B4-BE49-F238E27FC236}">
                <a16:creationId xmlns:a16="http://schemas.microsoft.com/office/drawing/2014/main" id="{22662878-670D-4431-C83A-4C800DE81E79}"/>
              </a:ext>
            </a:extLst>
          </p:cNvPr>
          <p:cNvSpPr>
            <a:spLocks noChangeAspect="1"/>
          </p:cNvSpPr>
          <p:nvPr userDrawn="1"/>
        </p:nvSpPr>
        <p:spPr>
          <a:xfrm>
            <a:off x="4634401" y="1648289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1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لاعتيادي</a:t>
            </a:r>
          </a:p>
        </p:txBody>
      </p:sp>
      <p:sp>
        <p:nvSpPr>
          <p:cNvPr id="67" name="Rectangle : coins arrondis 66">
            <a:extLst>
              <a:ext uri="{FF2B5EF4-FFF2-40B4-BE49-F238E27FC236}">
                <a16:creationId xmlns:a16="http://schemas.microsoft.com/office/drawing/2014/main" id="{E167E433-320B-2546-9D52-C395FCA750E1}"/>
              </a:ext>
            </a:extLst>
          </p:cNvPr>
          <p:cNvSpPr/>
          <p:nvPr userDrawn="1"/>
        </p:nvSpPr>
        <p:spPr>
          <a:xfrm>
            <a:off x="710977" y="3213619"/>
            <a:ext cx="7131497" cy="900000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68" name="Espace réservé pour une image  52">
            <a:extLst>
              <a:ext uri="{FF2B5EF4-FFF2-40B4-BE49-F238E27FC236}">
                <a16:creationId xmlns:a16="http://schemas.microsoft.com/office/drawing/2014/main" id="{F0B98AD8-84F5-043C-2955-B0BA40A1426D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7050474" y="3267619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pic>
        <p:nvPicPr>
          <p:cNvPr id="70" name="Image 69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id="{62318FFC-403A-B3A7-7424-E3A03ACA88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7757" y="2978030"/>
            <a:ext cx="2234716" cy="360000"/>
          </a:xfrm>
          <a:prstGeom prst="rect">
            <a:avLst/>
          </a:prstGeom>
        </p:spPr>
      </p:pic>
      <p:sp>
        <p:nvSpPr>
          <p:cNvPr id="71" name="Rectangle 70">
            <a:extLst>
              <a:ext uri="{FF2B5EF4-FFF2-40B4-BE49-F238E27FC236}">
                <a16:creationId xmlns:a16="http://schemas.microsoft.com/office/drawing/2014/main" id="{9237A4E0-D5C4-0422-6D15-31DB08B93CC3}"/>
              </a:ext>
            </a:extLst>
          </p:cNvPr>
          <p:cNvSpPr>
            <a:spLocks noChangeAspect="1"/>
          </p:cNvSpPr>
          <p:nvPr userDrawn="1"/>
        </p:nvSpPr>
        <p:spPr>
          <a:xfrm>
            <a:off x="4527757" y="2978030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2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قــــــــــــــــراءة</a:t>
            </a:r>
          </a:p>
        </p:txBody>
      </p:sp>
      <p:sp>
        <p:nvSpPr>
          <p:cNvPr id="82" name="Rectangle : coins arrondis 81">
            <a:extLst>
              <a:ext uri="{FF2B5EF4-FFF2-40B4-BE49-F238E27FC236}">
                <a16:creationId xmlns:a16="http://schemas.microsoft.com/office/drawing/2014/main" id="{30D8AE50-417D-45B7-9122-F3958F0C4C71}"/>
              </a:ext>
            </a:extLst>
          </p:cNvPr>
          <p:cNvSpPr/>
          <p:nvPr userDrawn="1"/>
        </p:nvSpPr>
        <p:spPr>
          <a:xfrm>
            <a:off x="710977" y="4543360"/>
            <a:ext cx="7131497" cy="900000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83" name="Espace réservé pour une image  52">
            <a:extLst>
              <a:ext uri="{FF2B5EF4-FFF2-40B4-BE49-F238E27FC236}">
                <a16:creationId xmlns:a16="http://schemas.microsoft.com/office/drawing/2014/main" id="{7C35F609-A4E7-22C1-7015-E75100C5AE06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7050474" y="4597360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pic>
        <p:nvPicPr>
          <p:cNvPr id="85" name="Image 84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id="{29673C02-277D-EE04-8BD0-FF1AD64690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7757" y="4307771"/>
            <a:ext cx="2234716" cy="360000"/>
          </a:xfrm>
          <a:prstGeom prst="rect">
            <a:avLst/>
          </a:prstGeom>
        </p:spPr>
      </p:pic>
      <p:sp>
        <p:nvSpPr>
          <p:cNvPr id="86" name="Rectangle 85">
            <a:extLst>
              <a:ext uri="{FF2B5EF4-FFF2-40B4-BE49-F238E27FC236}">
                <a16:creationId xmlns:a16="http://schemas.microsoft.com/office/drawing/2014/main" id="{1AD1ECCD-64D7-5EF6-049C-A9EDBD4562CD}"/>
              </a:ext>
            </a:extLst>
          </p:cNvPr>
          <p:cNvSpPr>
            <a:spLocks noChangeAspect="1"/>
          </p:cNvSpPr>
          <p:nvPr userDrawn="1"/>
        </p:nvSpPr>
        <p:spPr>
          <a:xfrm>
            <a:off x="4527757" y="4307771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3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 استماع وتحدث</a:t>
            </a:r>
          </a:p>
        </p:txBody>
      </p:sp>
    </p:spTree>
    <p:extLst>
      <p:ext uri="{BB962C8B-B14F-4D97-AF65-F5344CB8AC3E}">
        <p14:creationId xmlns:p14="http://schemas.microsoft.com/office/powerpoint/2010/main" val="1615220788"/>
      </p:ext>
    </p:extLst>
  </p:cSld>
  <p:clrMapOvr>
    <a:masterClrMapping/>
  </p:clrMapOvr>
  <p:transition spd="slow"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id="{598AFD82-84B7-B929-78D2-789C3F8CCBA9}"/>
              </a:ext>
            </a:extLst>
          </p:cNvPr>
          <p:cNvSpPr txBox="1">
            <a:spLocks/>
          </p:cNvSpPr>
          <p:nvPr userDrawn="1"/>
        </p:nvSpPr>
        <p:spPr>
          <a:xfrm>
            <a:off x="628650" y="834502"/>
            <a:ext cx="7886700" cy="523782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565F8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هيكلة حصة اليوم</a:t>
            </a:r>
          </a:p>
        </p:txBody>
      </p:sp>
      <p:sp>
        <p:nvSpPr>
          <p:cNvPr id="51" name="Rectangle : coins arrondis 50">
            <a:extLst>
              <a:ext uri="{FF2B5EF4-FFF2-40B4-BE49-F238E27FC236}">
                <a16:creationId xmlns:a16="http://schemas.microsoft.com/office/drawing/2014/main" id="{29DAEA41-5D00-ED34-D554-A529177F4182}"/>
              </a:ext>
            </a:extLst>
          </p:cNvPr>
          <p:cNvSpPr/>
          <p:nvPr userDrawn="1"/>
        </p:nvSpPr>
        <p:spPr>
          <a:xfrm>
            <a:off x="710977" y="1883878"/>
            <a:ext cx="7131497" cy="900000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53" name="Espace réservé pour une image  52">
            <a:extLst>
              <a:ext uri="{FF2B5EF4-FFF2-40B4-BE49-F238E27FC236}">
                <a16:creationId xmlns:a16="http://schemas.microsoft.com/office/drawing/2014/main" id="{811D769F-9534-D48A-505E-F22FF98BB4F8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7050474" y="1937878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6" name="Espace réservé du texte 29">
            <a:extLst>
              <a:ext uri="{FF2B5EF4-FFF2-40B4-BE49-F238E27FC236}">
                <a16:creationId xmlns:a16="http://schemas.microsoft.com/office/drawing/2014/main" id="{33AE7A0F-BFA5-923E-41DE-E0CB8B1CF64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80764" y="1883878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pic>
        <p:nvPicPr>
          <p:cNvPr id="58" name="Image 57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id="{9AB06E90-B23B-155F-6B3F-49C06FBECA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7757" y="1648289"/>
            <a:ext cx="2234716" cy="360000"/>
          </a:xfrm>
          <a:prstGeom prst="rect">
            <a:avLst/>
          </a:prstGeom>
        </p:spPr>
      </p:pic>
      <p:sp>
        <p:nvSpPr>
          <p:cNvPr id="59" name="Rectangle 58">
            <a:extLst>
              <a:ext uri="{FF2B5EF4-FFF2-40B4-BE49-F238E27FC236}">
                <a16:creationId xmlns:a16="http://schemas.microsoft.com/office/drawing/2014/main" id="{22662878-670D-4431-C83A-4C800DE81E79}"/>
              </a:ext>
            </a:extLst>
          </p:cNvPr>
          <p:cNvSpPr>
            <a:spLocks noChangeAspect="1"/>
          </p:cNvSpPr>
          <p:nvPr userDrawn="1"/>
        </p:nvSpPr>
        <p:spPr>
          <a:xfrm>
            <a:off x="4634401" y="1648289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1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لاعتيادي</a:t>
            </a:r>
          </a:p>
        </p:txBody>
      </p:sp>
      <p:sp>
        <p:nvSpPr>
          <p:cNvPr id="67" name="Rectangle : coins arrondis 66">
            <a:extLst>
              <a:ext uri="{FF2B5EF4-FFF2-40B4-BE49-F238E27FC236}">
                <a16:creationId xmlns:a16="http://schemas.microsoft.com/office/drawing/2014/main" id="{E167E433-320B-2546-9D52-C395FCA750E1}"/>
              </a:ext>
            </a:extLst>
          </p:cNvPr>
          <p:cNvSpPr/>
          <p:nvPr userDrawn="1"/>
        </p:nvSpPr>
        <p:spPr>
          <a:xfrm>
            <a:off x="710977" y="3213619"/>
            <a:ext cx="7131497" cy="900000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68" name="Espace réservé pour une image  52">
            <a:extLst>
              <a:ext uri="{FF2B5EF4-FFF2-40B4-BE49-F238E27FC236}">
                <a16:creationId xmlns:a16="http://schemas.microsoft.com/office/drawing/2014/main" id="{F0B98AD8-84F5-043C-2955-B0BA40A1426D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7050474" y="3267619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9" name="Espace réservé du texte 29">
            <a:extLst>
              <a:ext uri="{FF2B5EF4-FFF2-40B4-BE49-F238E27FC236}">
                <a16:creationId xmlns:a16="http://schemas.microsoft.com/office/drawing/2014/main" id="{AC10C698-6C83-20D2-F92B-A3155E47AAF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80764" y="3213619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pic>
        <p:nvPicPr>
          <p:cNvPr id="70" name="Image 69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id="{62318FFC-403A-B3A7-7424-E3A03ACA88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7757" y="2978030"/>
            <a:ext cx="2234716" cy="360000"/>
          </a:xfrm>
          <a:prstGeom prst="rect">
            <a:avLst/>
          </a:prstGeom>
        </p:spPr>
      </p:pic>
      <p:sp>
        <p:nvSpPr>
          <p:cNvPr id="71" name="Rectangle 70">
            <a:extLst>
              <a:ext uri="{FF2B5EF4-FFF2-40B4-BE49-F238E27FC236}">
                <a16:creationId xmlns:a16="http://schemas.microsoft.com/office/drawing/2014/main" id="{9237A4E0-D5C4-0422-6D15-31DB08B93CC3}"/>
              </a:ext>
            </a:extLst>
          </p:cNvPr>
          <p:cNvSpPr>
            <a:spLocks noChangeAspect="1"/>
          </p:cNvSpPr>
          <p:nvPr userDrawn="1"/>
        </p:nvSpPr>
        <p:spPr>
          <a:xfrm>
            <a:off x="4527757" y="2978030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2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قــــــــــــــــراءة</a:t>
            </a:r>
          </a:p>
        </p:txBody>
      </p:sp>
      <p:sp>
        <p:nvSpPr>
          <p:cNvPr id="82" name="Rectangle : coins arrondis 81">
            <a:extLst>
              <a:ext uri="{FF2B5EF4-FFF2-40B4-BE49-F238E27FC236}">
                <a16:creationId xmlns:a16="http://schemas.microsoft.com/office/drawing/2014/main" id="{30D8AE50-417D-45B7-9122-F3958F0C4C71}"/>
              </a:ext>
            </a:extLst>
          </p:cNvPr>
          <p:cNvSpPr/>
          <p:nvPr userDrawn="1"/>
        </p:nvSpPr>
        <p:spPr>
          <a:xfrm>
            <a:off x="710977" y="4543360"/>
            <a:ext cx="7131497" cy="900000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83" name="Espace réservé pour une image  52">
            <a:extLst>
              <a:ext uri="{FF2B5EF4-FFF2-40B4-BE49-F238E27FC236}">
                <a16:creationId xmlns:a16="http://schemas.microsoft.com/office/drawing/2014/main" id="{7C35F609-A4E7-22C1-7015-E75100C5AE06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7050474" y="4597360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4" name="Espace réservé du texte 29">
            <a:extLst>
              <a:ext uri="{FF2B5EF4-FFF2-40B4-BE49-F238E27FC236}">
                <a16:creationId xmlns:a16="http://schemas.microsoft.com/office/drawing/2014/main" id="{803D4A87-566A-9735-A2B9-04DD3B1646D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80764" y="4543360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pic>
        <p:nvPicPr>
          <p:cNvPr id="85" name="Image 84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id="{29673C02-277D-EE04-8BD0-FF1AD64690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7757" y="4307771"/>
            <a:ext cx="2234716" cy="360000"/>
          </a:xfrm>
          <a:prstGeom prst="rect">
            <a:avLst/>
          </a:prstGeom>
        </p:spPr>
      </p:pic>
      <p:sp>
        <p:nvSpPr>
          <p:cNvPr id="86" name="Rectangle 85">
            <a:extLst>
              <a:ext uri="{FF2B5EF4-FFF2-40B4-BE49-F238E27FC236}">
                <a16:creationId xmlns:a16="http://schemas.microsoft.com/office/drawing/2014/main" id="{1AD1ECCD-64D7-5EF6-049C-A9EDBD4562CD}"/>
              </a:ext>
            </a:extLst>
          </p:cNvPr>
          <p:cNvSpPr>
            <a:spLocks noChangeAspect="1"/>
          </p:cNvSpPr>
          <p:nvPr userDrawn="1"/>
        </p:nvSpPr>
        <p:spPr>
          <a:xfrm>
            <a:off x="4527757" y="4307771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3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 صرف وتحويل </a:t>
            </a:r>
          </a:p>
        </p:txBody>
      </p:sp>
    </p:spTree>
    <p:extLst>
      <p:ext uri="{BB962C8B-B14F-4D97-AF65-F5344CB8AC3E}">
        <p14:creationId xmlns:p14="http://schemas.microsoft.com/office/powerpoint/2010/main" val="2462839617"/>
      </p:ext>
    </p:extLst>
  </p:cSld>
  <p:clrMapOvr>
    <a:masterClrMapping/>
  </p:clrMapOvr>
  <p:transition spd="slow"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id="{598AFD82-84B7-B929-78D2-789C3F8CCBA9}"/>
              </a:ext>
            </a:extLst>
          </p:cNvPr>
          <p:cNvSpPr txBox="1">
            <a:spLocks/>
          </p:cNvSpPr>
          <p:nvPr userDrawn="1"/>
        </p:nvSpPr>
        <p:spPr>
          <a:xfrm>
            <a:off x="628650" y="834502"/>
            <a:ext cx="7886700" cy="523782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565F8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هيكلة حصة اليوم</a:t>
            </a:r>
          </a:p>
        </p:txBody>
      </p:sp>
      <p:sp>
        <p:nvSpPr>
          <p:cNvPr id="51" name="Rectangle : coins arrondis 50">
            <a:extLst>
              <a:ext uri="{FF2B5EF4-FFF2-40B4-BE49-F238E27FC236}">
                <a16:creationId xmlns:a16="http://schemas.microsoft.com/office/drawing/2014/main" id="{29DAEA41-5D00-ED34-D554-A529177F4182}"/>
              </a:ext>
            </a:extLst>
          </p:cNvPr>
          <p:cNvSpPr/>
          <p:nvPr userDrawn="1"/>
        </p:nvSpPr>
        <p:spPr>
          <a:xfrm>
            <a:off x="710977" y="1883878"/>
            <a:ext cx="7131497" cy="900000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53" name="Espace réservé pour une image  52">
            <a:extLst>
              <a:ext uri="{FF2B5EF4-FFF2-40B4-BE49-F238E27FC236}">
                <a16:creationId xmlns:a16="http://schemas.microsoft.com/office/drawing/2014/main" id="{811D769F-9534-D48A-505E-F22FF98BB4F8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7050474" y="1937878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6" name="Espace réservé du texte 29">
            <a:extLst>
              <a:ext uri="{FF2B5EF4-FFF2-40B4-BE49-F238E27FC236}">
                <a16:creationId xmlns:a16="http://schemas.microsoft.com/office/drawing/2014/main" id="{33AE7A0F-BFA5-923E-41DE-E0CB8B1CF64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80764" y="1883878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pic>
        <p:nvPicPr>
          <p:cNvPr id="58" name="Image 57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id="{9AB06E90-B23B-155F-6B3F-49C06FBECA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7757" y="1648289"/>
            <a:ext cx="2234716" cy="360000"/>
          </a:xfrm>
          <a:prstGeom prst="rect">
            <a:avLst/>
          </a:prstGeom>
        </p:spPr>
      </p:pic>
      <p:sp>
        <p:nvSpPr>
          <p:cNvPr id="59" name="Rectangle 58">
            <a:extLst>
              <a:ext uri="{FF2B5EF4-FFF2-40B4-BE49-F238E27FC236}">
                <a16:creationId xmlns:a16="http://schemas.microsoft.com/office/drawing/2014/main" id="{22662878-670D-4431-C83A-4C800DE81E79}"/>
              </a:ext>
            </a:extLst>
          </p:cNvPr>
          <p:cNvSpPr>
            <a:spLocks noChangeAspect="1"/>
          </p:cNvSpPr>
          <p:nvPr userDrawn="1"/>
        </p:nvSpPr>
        <p:spPr>
          <a:xfrm>
            <a:off x="4634401" y="1648289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1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لاعتيادي</a:t>
            </a:r>
          </a:p>
        </p:txBody>
      </p:sp>
      <p:sp>
        <p:nvSpPr>
          <p:cNvPr id="67" name="Rectangle : coins arrondis 66">
            <a:extLst>
              <a:ext uri="{FF2B5EF4-FFF2-40B4-BE49-F238E27FC236}">
                <a16:creationId xmlns:a16="http://schemas.microsoft.com/office/drawing/2014/main" id="{E167E433-320B-2546-9D52-C395FCA750E1}"/>
              </a:ext>
            </a:extLst>
          </p:cNvPr>
          <p:cNvSpPr/>
          <p:nvPr userDrawn="1"/>
        </p:nvSpPr>
        <p:spPr>
          <a:xfrm>
            <a:off x="710977" y="3213619"/>
            <a:ext cx="7131497" cy="900000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68" name="Espace réservé pour une image  52">
            <a:extLst>
              <a:ext uri="{FF2B5EF4-FFF2-40B4-BE49-F238E27FC236}">
                <a16:creationId xmlns:a16="http://schemas.microsoft.com/office/drawing/2014/main" id="{F0B98AD8-84F5-043C-2955-B0BA40A1426D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7050474" y="3267619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9" name="Espace réservé du texte 29">
            <a:extLst>
              <a:ext uri="{FF2B5EF4-FFF2-40B4-BE49-F238E27FC236}">
                <a16:creationId xmlns:a16="http://schemas.microsoft.com/office/drawing/2014/main" id="{AC10C698-6C83-20D2-F92B-A3155E47AAF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80764" y="3213619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pic>
        <p:nvPicPr>
          <p:cNvPr id="70" name="Image 69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id="{62318FFC-403A-B3A7-7424-E3A03ACA88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7757" y="2978030"/>
            <a:ext cx="2234716" cy="360000"/>
          </a:xfrm>
          <a:prstGeom prst="rect">
            <a:avLst/>
          </a:prstGeom>
        </p:spPr>
      </p:pic>
      <p:sp>
        <p:nvSpPr>
          <p:cNvPr id="71" name="Rectangle 70">
            <a:extLst>
              <a:ext uri="{FF2B5EF4-FFF2-40B4-BE49-F238E27FC236}">
                <a16:creationId xmlns:a16="http://schemas.microsoft.com/office/drawing/2014/main" id="{9237A4E0-D5C4-0422-6D15-31DB08B93CC3}"/>
              </a:ext>
            </a:extLst>
          </p:cNvPr>
          <p:cNvSpPr>
            <a:spLocks noChangeAspect="1"/>
          </p:cNvSpPr>
          <p:nvPr userDrawn="1"/>
        </p:nvSpPr>
        <p:spPr>
          <a:xfrm>
            <a:off x="4527757" y="2978030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2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إملاء</a:t>
            </a:r>
          </a:p>
        </p:txBody>
      </p:sp>
      <p:sp>
        <p:nvSpPr>
          <p:cNvPr id="82" name="Rectangle : coins arrondis 81">
            <a:extLst>
              <a:ext uri="{FF2B5EF4-FFF2-40B4-BE49-F238E27FC236}">
                <a16:creationId xmlns:a16="http://schemas.microsoft.com/office/drawing/2014/main" id="{30D8AE50-417D-45B7-9122-F3958F0C4C71}"/>
              </a:ext>
            </a:extLst>
          </p:cNvPr>
          <p:cNvSpPr/>
          <p:nvPr userDrawn="1"/>
        </p:nvSpPr>
        <p:spPr>
          <a:xfrm>
            <a:off x="710977" y="4543360"/>
            <a:ext cx="7131497" cy="900000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83" name="Espace réservé pour une image  52">
            <a:extLst>
              <a:ext uri="{FF2B5EF4-FFF2-40B4-BE49-F238E27FC236}">
                <a16:creationId xmlns:a16="http://schemas.microsoft.com/office/drawing/2014/main" id="{7C35F609-A4E7-22C1-7015-E75100C5AE06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7050474" y="4597360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4" name="Espace réservé du texte 29">
            <a:extLst>
              <a:ext uri="{FF2B5EF4-FFF2-40B4-BE49-F238E27FC236}">
                <a16:creationId xmlns:a16="http://schemas.microsoft.com/office/drawing/2014/main" id="{803D4A87-566A-9735-A2B9-04DD3B1646D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80764" y="4543360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pic>
        <p:nvPicPr>
          <p:cNvPr id="85" name="Image 84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id="{29673C02-277D-EE04-8BD0-FF1AD64690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7757" y="4307771"/>
            <a:ext cx="2234716" cy="360000"/>
          </a:xfrm>
          <a:prstGeom prst="rect">
            <a:avLst/>
          </a:prstGeom>
        </p:spPr>
      </p:pic>
      <p:sp>
        <p:nvSpPr>
          <p:cNvPr id="86" name="Rectangle 85">
            <a:extLst>
              <a:ext uri="{FF2B5EF4-FFF2-40B4-BE49-F238E27FC236}">
                <a16:creationId xmlns:a16="http://schemas.microsoft.com/office/drawing/2014/main" id="{1AD1ECCD-64D7-5EF6-049C-A9EDBD4562CD}"/>
              </a:ext>
            </a:extLst>
          </p:cNvPr>
          <p:cNvSpPr>
            <a:spLocks noChangeAspect="1"/>
          </p:cNvSpPr>
          <p:nvPr userDrawn="1"/>
        </p:nvSpPr>
        <p:spPr>
          <a:xfrm>
            <a:off x="4527757" y="4307771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3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 إنتاج كتابي </a:t>
            </a:r>
          </a:p>
        </p:txBody>
      </p:sp>
    </p:spTree>
    <p:extLst>
      <p:ext uri="{BB962C8B-B14F-4D97-AF65-F5344CB8AC3E}">
        <p14:creationId xmlns:p14="http://schemas.microsoft.com/office/powerpoint/2010/main" val="930234534"/>
      </p:ext>
    </p:extLst>
  </p:cSld>
  <p:clrMapOvr>
    <a:masterClrMapping/>
  </p:clrMapOvr>
  <p:transition spd="slow"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id="{598AFD82-84B7-B929-78D2-789C3F8CCBA9}"/>
              </a:ext>
            </a:extLst>
          </p:cNvPr>
          <p:cNvSpPr txBox="1">
            <a:spLocks/>
          </p:cNvSpPr>
          <p:nvPr userDrawn="1"/>
        </p:nvSpPr>
        <p:spPr>
          <a:xfrm>
            <a:off x="628650" y="834502"/>
            <a:ext cx="7886700" cy="523782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565F8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هيكلة حصة اليوم</a:t>
            </a:r>
          </a:p>
        </p:txBody>
      </p:sp>
      <p:sp>
        <p:nvSpPr>
          <p:cNvPr id="51" name="Rectangle : coins arrondis 50">
            <a:extLst>
              <a:ext uri="{FF2B5EF4-FFF2-40B4-BE49-F238E27FC236}">
                <a16:creationId xmlns:a16="http://schemas.microsoft.com/office/drawing/2014/main" id="{29DAEA41-5D00-ED34-D554-A529177F4182}"/>
              </a:ext>
            </a:extLst>
          </p:cNvPr>
          <p:cNvSpPr/>
          <p:nvPr userDrawn="1"/>
        </p:nvSpPr>
        <p:spPr>
          <a:xfrm>
            <a:off x="796702" y="2198203"/>
            <a:ext cx="7131497" cy="900000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53" name="Espace réservé pour une image  52">
            <a:extLst>
              <a:ext uri="{FF2B5EF4-FFF2-40B4-BE49-F238E27FC236}">
                <a16:creationId xmlns:a16="http://schemas.microsoft.com/office/drawing/2014/main" id="{811D769F-9534-D48A-505E-F22FF98BB4F8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7136199" y="2252203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6" name="Espace réservé du texte 29">
            <a:extLst>
              <a:ext uri="{FF2B5EF4-FFF2-40B4-BE49-F238E27FC236}">
                <a16:creationId xmlns:a16="http://schemas.microsoft.com/office/drawing/2014/main" id="{33AE7A0F-BFA5-923E-41DE-E0CB8B1CF64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166489" y="2198203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pic>
        <p:nvPicPr>
          <p:cNvPr id="58" name="Image 57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id="{9AB06E90-B23B-155F-6B3F-49C06FBECA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3482" y="1962614"/>
            <a:ext cx="2234716" cy="360000"/>
          </a:xfrm>
          <a:prstGeom prst="rect">
            <a:avLst/>
          </a:prstGeom>
        </p:spPr>
      </p:pic>
      <p:sp>
        <p:nvSpPr>
          <p:cNvPr id="59" name="Rectangle 58">
            <a:extLst>
              <a:ext uri="{FF2B5EF4-FFF2-40B4-BE49-F238E27FC236}">
                <a16:creationId xmlns:a16="http://schemas.microsoft.com/office/drawing/2014/main" id="{22662878-670D-4431-C83A-4C800DE81E79}"/>
              </a:ext>
            </a:extLst>
          </p:cNvPr>
          <p:cNvSpPr>
            <a:spLocks noChangeAspect="1"/>
          </p:cNvSpPr>
          <p:nvPr userDrawn="1"/>
        </p:nvSpPr>
        <p:spPr>
          <a:xfrm>
            <a:off x="4720126" y="1962614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1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لاعتيادي</a:t>
            </a:r>
          </a:p>
        </p:txBody>
      </p:sp>
      <p:sp>
        <p:nvSpPr>
          <p:cNvPr id="67" name="Rectangle : coins arrondis 66">
            <a:extLst>
              <a:ext uri="{FF2B5EF4-FFF2-40B4-BE49-F238E27FC236}">
                <a16:creationId xmlns:a16="http://schemas.microsoft.com/office/drawing/2014/main" id="{E167E433-320B-2546-9D52-C395FCA750E1}"/>
              </a:ext>
            </a:extLst>
          </p:cNvPr>
          <p:cNvSpPr/>
          <p:nvPr userDrawn="1"/>
        </p:nvSpPr>
        <p:spPr>
          <a:xfrm>
            <a:off x="796702" y="3884122"/>
            <a:ext cx="7131497" cy="900000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68" name="Espace réservé pour une image  52">
            <a:extLst>
              <a:ext uri="{FF2B5EF4-FFF2-40B4-BE49-F238E27FC236}">
                <a16:creationId xmlns:a16="http://schemas.microsoft.com/office/drawing/2014/main" id="{F0B98AD8-84F5-043C-2955-B0BA40A1426D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7136199" y="3938122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9" name="Espace réservé du texte 29">
            <a:extLst>
              <a:ext uri="{FF2B5EF4-FFF2-40B4-BE49-F238E27FC236}">
                <a16:creationId xmlns:a16="http://schemas.microsoft.com/office/drawing/2014/main" id="{AC10C698-6C83-20D2-F92B-A3155E47AAF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166489" y="3884122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pic>
        <p:nvPicPr>
          <p:cNvPr id="70" name="Image 69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id="{62318FFC-403A-B3A7-7424-E3A03ACA88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3482" y="3648533"/>
            <a:ext cx="2234716" cy="360000"/>
          </a:xfrm>
          <a:prstGeom prst="rect">
            <a:avLst/>
          </a:prstGeom>
        </p:spPr>
      </p:pic>
      <p:sp>
        <p:nvSpPr>
          <p:cNvPr id="71" name="Rectangle 70">
            <a:extLst>
              <a:ext uri="{FF2B5EF4-FFF2-40B4-BE49-F238E27FC236}">
                <a16:creationId xmlns:a16="http://schemas.microsoft.com/office/drawing/2014/main" id="{9237A4E0-D5C4-0422-6D15-31DB08B93CC3}"/>
              </a:ext>
            </a:extLst>
          </p:cNvPr>
          <p:cNvSpPr>
            <a:spLocks noChangeAspect="1"/>
          </p:cNvSpPr>
          <p:nvPr userDrawn="1"/>
        </p:nvSpPr>
        <p:spPr>
          <a:xfrm>
            <a:off x="4613482" y="3648533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2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مراجعة وتوليف  </a:t>
            </a:r>
          </a:p>
        </p:txBody>
      </p:sp>
    </p:spTree>
    <p:extLst>
      <p:ext uri="{BB962C8B-B14F-4D97-AF65-F5344CB8AC3E}">
        <p14:creationId xmlns:p14="http://schemas.microsoft.com/office/powerpoint/2010/main" val="2161818467"/>
      </p:ext>
    </p:extLst>
  </p:cSld>
  <p:clrMapOvr>
    <a:masterClrMapping/>
  </p:clrMapOvr>
  <p:transition spd="slow"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id="{598AFD82-84B7-B929-78D2-789C3F8CCBA9}"/>
              </a:ext>
            </a:extLst>
          </p:cNvPr>
          <p:cNvSpPr txBox="1">
            <a:spLocks/>
          </p:cNvSpPr>
          <p:nvPr userDrawn="1"/>
        </p:nvSpPr>
        <p:spPr>
          <a:xfrm>
            <a:off x="628650" y="834502"/>
            <a:ext cx="7886700" cy="523782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565F8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هيكلة حصة اليوم</a:t>
            </a:r>
          </a:p>
        </p:txBody>
      </p:sp>
      <p:sp>
        <p:nvSpPr>
          <p:cNvPr id="51" name="Rectangle : coins arrondis 50">
            <a:extLst>
              <a:ext uri="{FF2B5EF4-FFF2-40B4-BE49-F238E27FC236}">
                <a16:creationId xmlns:a16="http://schemas.microsoft.com/office/drawing/2014/main" id="{29DAEA41-5D00-ED34-D554-A529177F4182}"/>
              </a:ext>
            </a:extLst>
          </p:cNvPr>
          <p:cNvSpPr/>
          <p:nvPr userDrawn="1"/>
        </p:nvSpPr>
        <p:spPr>
          <a:xfrm>
            <a:off x="1006252" y="1523878"/>
            <a:ext cx="7131497" cy="900000"/>
          </a:xfrm>
          <a:prstGeom prst="roundRect">
            <a:avLst>
              <a:gd name="adj" fmla="val 50000"/>
            </a:avLst>
          </a:prstGeom>
          <a:solidFill>
            <a:srgbClr val="B5EEF2"/>
          </a:solidFill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53" name="Espace réservé pour une image  52">
            <a:extLst>
              <a:ext uri="{FF2B5EF4-FFF2-40B4-BE49-F238E27FC236}">
                <a16:creationId xmlns:a16="http://schemas.microsoft.com/office/drawing/2014/main" id="{811D769F-9534-D48A-505E-F22FF98BB4F8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7345749" y="1577878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6" name="Espace réservé du texte 29">
            <a:extLst>
              <a:ext uri="{FF2B5EF4-FFF2-40B4-BE49-F238E27FC236}">
                <a16:creationId xmlns:a16="http://schemas.microsoft.com/office/drawing/2014/main" id="{33AE7A0F-BFA5-923E-41DE-E0CB8B1CF64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376039" y="1523878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1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pic>
        <p:nvPicPr>
          <p:cNvPr id="58" name="Image 57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id="{9AB06E90-B23B-155F-6B3F-49C06FBECA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3032" y="1288289"/>
            <a:ext cx="2234716" cy="360000"/>
          </a:xfrm>
          <a:prstGeom prst="rect">
            <a:avLst/>
          </a:prstGeom>
        </p:spPr>
      </p:pic>
      <p:sp>
        <p:nvSpPr>
          <p:cNvPr id="59" name="Rectangle 58">
            <a:extLst>
              <a:ext uri="{FF2B5EF4-FFF2-40B4-BE49-F238E27FC236}">
                <a16:creationId xmlns:a16="http://schemas.microsoft.com/office/drawing/2014/main" id="{22662878-670D-4431-C83A-4C800DE81E79}"/>
              </a:ext>
            </a:extLst>
          </p:cNvPr>
          <p:cNvSpPr>
            <a:spLocks noChangeAspect="1"/>
          </p:cNvSpPr>
          <p:nvPr userDrawn="1"/>
        </p:nvSpPr>
        <p:spPr>
          <a:xfrm>
            <a:off x="4823032" y="1288289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1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نشاط الاعتيادي</a:t>
            </a:r>
          </a:p>
        </p:txBody>
      </p:sp>
      <p:sp>
        <p:nvSpPr>
          <p:cNvPr id="67" name="Rectangle : coins arrondis 66">
            <a:extLst>
              <a:ext uri="{FF2B5EF4-FFF2-40B4-BE49-F238E27FC236}">
                <a16:creationId xmlns:a16="http://schemas.microsoft.com/office/drawing/2014/main" id="{E167E433-320B-2546-9D52-C395FCA750E1}"/>
              </a:ext>
            </a:extLst>
          </p:cNvPr>
          <p:cNvSpPr/>
          <p:nvPr userDrawn="1"/>
        </p:nvSpPr>
        <p:spPr>
          <a:xfrm>
            <a:off x="1006252" y="2853619"/>
            <a:ext cx="7131497" cy="900000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68" name="Espace réservé pour une image  52">
            <a:extLst>
              <a:ext uri="{FF2B5EF4-FFF2-40B4-BE49-F238E27FC236}">
                <a16:creationId xmlns:a16="http://schemas.microsoft.com/office/drawing/2014/main" id="{F0B98AD8-84F5-043C-2955-B0BA40A1426D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7345749" y="2907619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9" name="Espace réservé du texte 29">
            <a:extLst>
              <a:ext uri="{FF2B5EF4-FFF2-40B4-BE49-F238E27FC236}">
                <a16:creationId xmlns:a16="http://schemas.microsoft.com/office/drawing/2014/main" id="{AC10C698-6C83-20D2-F92B-A3155E47AAF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376039" y="2853619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pic>
        <p:nvPicPr>
          <p:cNvPr id="70" name="Image 69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id="{62318FFC-403A-B3A7-7424-E3A03ACA88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3032" y="2618030"/>
            <a:ext cx="2234716" cy="360000"/>
          </a:xfrm>
          <a:prstGeom prst="rect">
            <a:avLst/>
          </a:prstGeom>
        </p:spPr>
      </p:pic>
      <p:sp>
        <p:nvSpPr>
          <p:cNvPr id="71" name="Rectangle 70">
            <a:extLst>
              <a:ext uri="{FF2B5EF4-FFF2-40B4-BE49-F238E27FC236}">
                <a16:creationId xmlns:a16="http://schemas.microsoft.com/office/drawing/2014/main" id="{9237A4E0-D5C4-0422-6D15-31DB08B93CC3}"/>
              </a:ext>
            </a:extLst>
          </p:cNvPr>
          <p:cNvSpPr>
            <a:spLocks noChangeAspect="1"/>
          </p:cNvSpPr>
          <p:nvPr userDrawn="1"/>
        </p:nvSpPr>
        <p:spPr>
          <a:xfrm>
            <a:off x="4823032" y="2618030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2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معجم</a:t>
            </a:r>
          </a:p>
        </p:txBody>
      </p:sp>
      <p:sp>
        <p:nvSpPr>
          <p:cNvPr id="82" name="Rectangle : coins arrondis 81">
            <a:extLst>
              <a:ext uri="{FF2B5EF4-FFF2-40B4-BE49-F238E27FC236}">
                <a16:creationId xmlns:a16="http://schemas.microsoft.com/office/drawing/2014/main" id="{30D8AE50-417D-45B7-9122-F3958F0C4C71}"/>
              </a:ext>
            </a:extLst>
          </p:cNvPr>
          <p:cNvSpPr/>
          <p:nvPr userDrawn="1"/>
        </p:nvSpPr>
        <p:spPr>
          <a:xfrm>
            <a:off x="1006252" y="4183360"/>
            <a:ext cx="7131497" cy="900000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83" name="Espace réservé pour une image  52">
            <a:extLst>
              <a:ext uri="{FF2B5EF4-FFF2-40B4-BE49-F238E27FC236}">
                <a16:creationId xmlns:a16="http://schemas.microsoft.com/office/drawing/2014/main" id="{7C35F609-A4E7-22C1-7015-E75100C5AE06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7345749" y="4237360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4" name="Espace réservé du texte 29">
            <a:extLst>
              <a:ext uri="{FF2B5EF4-FFF2-40B4-BE49-F238E27FC236}">
                <a16:creationId xmlns:a16="http://schemas.microsoft.com/office/drawing/2014/main" id="{803D4A87-566A-9735-A2B9-04DD3B1646D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376039" y="4183360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pic>
        <p:nvPicPr>
          <p:cNvPr id="85" name="Image 84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id="{29673C02-277D-EE04-8BD0-FF1AD64690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3032" y="3947771"/>
            <a:ext cx="2234716" cy="360000"/>
          </a:xfrm>
          <a:prstGeom prst="rect">
            <a:avLst/>
          </a:prstGeom>
        </p:spPr>
      </p:pic>
      <p:sp>
        <p:nvSpPr>
          <p:cNvPr id="86" name="Rectangle 85">
            <a:extLst>
              <a:ext uri="{FF2B5EF4-FFF2-40B4-BE49-F238E27FC236}">
                <a16:creationId xmlns:a16="http://schemas.microsoft.com/office/drawing/2014/main" id="{1AD1ECCD-64D7-5EF6-049C-A9EDBD4562CD}"/>
              </a:ext>
            </a:extLst>
          </p:cNvPr>
          <p:cNvSpPr>
            <a:spLocks noChangeAspect="1"/>
          </p:cNvSpPr>
          <p:nvPr userDrawn="1"/>
        </p:nvSpPr>
        <p:spPr>
          <a:xfrm>
            <a:off x="4823032" y="3947771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3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 استماع وتحدث</a:t>
            </a:r>
          </a:p>
        </p:txBody>
      </p:sp>
      <p:sp>
        <p:nvSpPr>
          <p:cNvPr id="87" name="Rectangle : coins arrondis 86">
            <a:extLst>
              <a:ext uri="{FF2B5EF4-FFF2-40B4-BE49-F238E27FC236}">
                <a16:creationId xmlns:a16="http://schemas.microsoft.com/office/drawing/2014/main" id="{13ADE3E3-FEE4-7D18-5E4F-161698C8298E}"/>
              </a:ext>
            </a:extLst>
          </p:cNvPr>
          <p:cNvSpPr/>
          <p:nvPr userDrawn="1"/>
        </p:nvSpPr>
        <p:spPr>
          <a:xfrm>
            <a:off x="1006252" y="5513101"/>
            <a:ext cx="7131497" cy="900000"/>
          </a:xfrm>
          <a:prstGeom prst="roundRect">
            <a:avLst>
              <a:gd name="adj" fmla="val 50000"/>
            </a:avLst>
          </a:prstGeom>
          <a:noFill/>
          <a:ln w="76200">
            <a:solidFill>
              <a:srgbClr val="94E4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88" name="Espace réservé pour une image  52">
            <a:extLst>
              <a:ext uri="{FF2B5EF4-FFF2-40B4-BE49-F238E27FC236}">
                <a16:creationId xmlns:a16="http://schemas.microsoft.com/office/drawing/2014/main" id="{5002C4B3-577C-EDF2-EEF3-BB3F299EEF19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7345749" y="5567101"/>
            <a:ext cx="792000" cy="792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94E4EA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9" name="Espace réservé du texte 29">
            <a:extLst>
              <a:ext uri="{FF2B5EF4-FFF2-40B4-BE49-F238E27FC236}">
                <a16:creationId xmlns:a16="http://schemas.microsoft.com/office/drawing/2014/main" id="{84AB51F3-94E9-C64F-E0A7-077D1112346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376039" y="5513101"/>
            <a:ext cx="5681708" cy="9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4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2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1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pic>
        <p:nvPicPr>
          <p:cNvPr id="90" name="Image 89" descr="Une image contenant capture d’écran, Rectangle&#10;&#10;Le contenu généré par l’IA peut être incorrect.">
            <a:extLst>
              <a:ext uri="{FF2B5EF4-FFF2-40B4-BE49-F238E27FC236}">
                <a16:creationId xmlns:a16="http://schemas.microsoft.com/office/drawing/2014/main" id="{0BB64257-1A94-AB80-9832-CB0DF63AC80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3032" y="5277512"/>
            <a:ext cx="2234716" cy="360000"/>
          </a:xfrm>
          <a:prstGeom prst="rect">
            <a:avLst/>
          </a:prstGeom>
        </p:spPr>
      </p:pic>
      <p:sp>
        <p:nvSpPr>
          <p:cNvPr id="91" name="Rectangle 90">
            <a:extLst>
              <a:ext uri="{FF2B5EF4-FFF2-40B4-BE49-F238E27FC236}">
                <a16:creationId xmlns:a16="http://schemas.microsoft.com/office/drawing/2014/main" id="{AB053F21-2486-E623-00E1-630B455CA52D}"/>
              </a:ext>
            </a:extLst>
          </p:cNvPr>
          <p:cNvSpPr>
            <a:spLocks noChangeAspect="1"/>
          </p:cNvSpPr>
          <p:nvPr userDrawn="1"/>
        </p:nvSpPr>
        <p:spPr>
          <a:xfrm>
            <a:off x="4823032" y="5277512"/>
            <a:ext cx="223471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 - </a:t>
            </a:r>
            <a:r>
              <a: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+mn-cs"/>
              </a:rPr>
              <a:t>04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قراءة/ كتابة</a:t>
            </a:r>
          </a:p>
        </p:txBody>
      </p:sp>
      <p:sp>
        <p:nvSpPr>
          <p:cNvPr id="93" name="ZoneTexte 92">
            <a:extLst>
              <a:ext uri="{FF2B5EF4-FFF2-40B4-BE49-F238E27FC236}">
                <a16:creationId xmlns:a16="http://schemas.microsoft.com/office/drawing/2014/main" id="{142297B5-6FBA-BC26-6A95-65899F08D5CE}"/>
              </a:ext>
            </a:extLst>
          </p:cNvPr>
          <p:cNvSpPr txBox="1"/>
          <p:nvPr userDrawn="1"/>
        </p:nvSpPr>
        <p:spPr>
          <a:xfrm>
            <a:off x="2286000" y="3273186"/>
            <a:ext cx="4572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قراءة/ كتابة</a:t>
            </a:r>
          </a:p>
        </p:txBody>
      </p:sp>
    </p:spTree>
    <p:extLst>
      <p:ext uri="{BB962C8B-B14F-4D97-AF65-F5344CB8AC3E}">
        <p14:creationId xmlns:p14="http://schemas.microsoft.com/office/powerpoint/2010/main" val="1205467028"/>
      </p:ext>
    </p:extLst>
  </p:cSld>
  <p:clrMapOvr>
    <a:masterClrMapping/>
  </p:clrMapOvr>
  <p:transition spd="slow"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E361C932-B43D-F861-8BEC-34052DDDEAB6}"/>
              </a:ext>
            </a:extLst>
          </p:cNvPr>
          <p:cNvSpPr/>
          <p:nvPr userDrawn="1"/>
        </p:nvSpPr>
        <p:spPr>
          <a:xfrm>
            <a:off x="499220" y="1489630"/>
            <a:ext cx="3780000" cy="198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id="{598AFD82-84B7-B929-78D2-789C3F8CCBA9}"/>
              </a:ext>
            </a:extLst>
          </p:cNvPr>
          <p:cNvSpPr txBox="1">
            <a:spLocks/>
          </p:cNvSpPr>
          <p:nvPr userDrawn="1"/>
        </p:nvSpPr>
        <p:spPr>
          <a:xfrm>
            <a:off x="628650" y="834502"/>
            <a:ext cx="7886700" cy="523782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565F8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هيكلة حصة اليوم</a:t>
            </a: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5398ACC3-FEC4-B214-2200-53D5401C989B}"/>
              </a:ext>
            </a:extLst>
          </p:cNvPr>
          <p:cNvGrpSpPr/>
          <p:nvPr userDrawn="1"/>
        </p:nvGrpSpPr>
        <p:grpSpPr>
          <a:xfrm>
            <a:off x="2619610" y="1345630"/>
            <a:ext cx="1787772" cy="288000"/>
            <a:chOff x="963273" y="2342097"/>
            <a:chExt cx="1787772" cy="288000"/>
          </a:xfrm>
        </p:grpSpPr>
        <p:pic>
          <p:nvPicPr>
            <p:cNvPr id="5" name="Image 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C7970687-46CC-B631-3DE5-C4444E9279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FF24D4A-CD59-2671-37CD-FDF3D6E8C0F7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E152EB3D-3F01-995A-D8AD-C9F66F45A737}"/>
              </a:ext>
            </a:extLst>
          </p:cNvPr>
          <p:cNvSpPr/>
          <p:nvPr userDrawn="1"/>
        </p:nvSpPr>
        <p:spPr>
          <a:xfrm>
            <a:off x="543610" y="4079344"/>
            <a:ext cx="3780000" cy="180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713E2199-C99F-884B-645C-5436BB0FF3E9}"/>
              </a:ext>
            </a:extLst>
          </p:cNvPr>
          <p:cNvGrpSpPr/>
          <p:nvPr userDrawn="1"/>
        </p:nvGrpSpPr>
        <p:grpSpPr>
          <a:xfrm>
            <a:off x="2664000" y="3935344"/>
            <a:ext cx="1787772" cy="288000"/>
            <a:chOff x="963273" y="2342097"/>
            <a:chExt cx="1787772" cy="288000"/>
          </a:xfrm>
        </p:grpSpPr>
        <p:pic>
          <p:nvPicPr>
            <p:cNvPr id="11" name="Image 10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A9AAB978-56B5-DC6A-35FB-8F99900FAF3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A34902E-32B8-A2E2-6693-601E5A6EB349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2</a:t>
              </a:r>
            </a:p>
          </p:txBody>
        </p:sp>
      </p:grp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4F4026A5-FF1B-E446-E9A7-AF0055EFE932}"/>
              </a:ext>
            </a:extLst>
          </p:cNvPr>
          <p:cNvSpPr/>
          <p:nvPr userDrawn="1"/>
        </p:nvSpPr>
        <p:spPr>
          <a:xfrm>
            <a:off x="4690960" y="1484528"/>
            <a:ext cx="3780000" cy="1980000"/>
          </a:xfrm>
          <a:prstGeom prst="roundRect">
            <a:avLst>
              <a:gd name="adj" fmla="val 8586"/>
            </a:avLst>
          </a:prstGeom>
          <a:solidFill>
            <a:srgbClr val="D5F4F6"/>
          </a:solidFill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8D935484-1F87-FE61-7649-B4F2CD08FDB0}"/>
              </a:ext>
            </a:extLst>
          </p:cNvPr>
          <p:cNvGrpSpPr/>
          <p:nvPr userDrawn="1"/>
        </p:nvGrpSpPr>
        <p:grpSpPr>
          <a:xfrm>
            <a:off x="6831610" y="1340528"/>
            <a:ext cx="1787772" cy="288000"/>
            <a:chOff x="963273" y="2342097"/>
            <a:chExt cx="1787772" cy="288000"/>
          </a:xfrm>
        </p:grpSpPr>
        <p:pic>
          <p:nvPicPr>
            <p:cNvPr id="19" name="Image 18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E9EDA4B9-95AE-1161-6E2B-4D19D4913D4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F72566A-0A75-874C-8ADE-90A75565CC25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sp>
        <p:nvSpPr>
          <p:cNvPr id="21" name="Rectangle : coins arrondis 20">
            <a:extLst>
              <a:ext uri="{FF2B5EF4-FFF2-40B4-BE49-F238E27FC236}">
                <a16:creationId xmlns:a16="http://schemas.microsoft.com/office/drawing/2014/main" id="{383E4ED1-F046-0607-36DC-67B4321F12F9}"/>
              </a:ext>
            </a:extLst>
          </p:cNvPr>
          <p:cNvSpPr/>
          <p:nvPr userDrawn="1"/>
        </p:nvSpPr>
        <p:spPr>
          <a:xfrm>
            <a:off x="4735350" y="4074242"/>
            <a:ext cx="3780000" cy="180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22" name="Groupe 21">
            <a:extLst>
              <a:ext uri="{FF2B5EF4-FFF2-40B4-BE49-F238E27FC236}">
                <a16:creationId xmlns:a16="http://schemas.microsoft.com/office/drawing/2014/main" id="{A7FC7ADA-8971-A681-A7D3-3658BD7AFA5F}"/>
              </a:ext>
            </a:extLst>
          </p:cNvPr>
          <p:cNvGrpSpPr/>
          <p:nvPr userDrawn="1"/>
        </p:nvGrpSpPr>
        <p:grpSpPr>
          <a:xfrm>
            <a:off x="6876000" y="3930242"/>
            <a:ext cx="1787772" cy="288000"/>
            <a:chOff x="963273" y="2342097"/>
            <a:chExt cx="1787772" cy="288000"/>
          </a:xfrm>
        </p:grpSpPr>
        <p:pic>
          <p:nvPicPr>
            <p:cNvPr id="23" name="Image 22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A94CC92C-6185-84DD-6E63-7EB955D78AC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C6B3217-D89F-5435-B62C-FA55739EBBB3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5</a:t>
              </a:r>
            </a:p>
          </p:txBody>
        </p:sp>
      </p:grpSp>
      <p:sp>
        <p:nvSpPr>
          <p:cNvPr id="2" name="Espace réservé du texte 29">
            <a:extLst>
              <a:ext uri="{FF2B5EF4-FFF2-40B4-BE49-F238E27FC236}">
                <a16:creationId xmlns:a16="http://schemas.microsoft.com/office/drawing/2014/main" id="{23761567-A86E-8135-81C0-CED87D942C5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9220" y="1494244"/>
            <a:ext cx="3780000" cy="198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4" name="Espace réservé du texte 29">
            <a:extLst>
              <a:ext uri="{FF2B5EF4-FFF2-40B4-BE49-F238E27FC236}">
                <a16:creationId xmlns:a16="http://schemas.microsoft.com/office/drawing/2014/main" id="{39EA05E9-C0CF-B205-9E7E-8B816F7B204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3610" y="4079344"/>
            <a:ext cx="3780000" cy="18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17782BBF-59ED-E546-3B38-B34A7198A46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38960" y="4074242"/>
            <a:ext cx="3780000" cy="180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2" name="Espace réservé du texte 29">
            <a:extLst>
              <a:ext uri="{FF2B5EF4-FFF2-40B4-BE49-F238E27FC236}">
                <a16:creationId xmlns:a16="http://schemas.microsoft.com/office/drawing/2014/main" id="{F31F0DA6-235C-D84C-A077-7A122B020A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35350" y="1933764"/>
            <a:ext cx="3780000" cy="198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1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4" name="Espace réservé pour une image  33">
            <a:extLst>
              <a:ext uri="{FF2B5EF4-FFF2-40B4-BE49-F238E27FC236}">
                <a16:creationId xmlns:a16="http://schemas.microsoft.com/office/drawing/2014/main" id="{E9E8A424-C49F-EA75-7E06-53BC7826807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7943772" y="910326"/>
            <a:ext cx="720000" cy="720000"/>
          </a:xfrm>
          <a:prstGeom prst="ellipse">
            <a:avLst/>
          </a:prstGeom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040415471"/>
      </p:ext>
    </p:extLst>
  </p:cSld>
  <p:clrMapOvr>
    <a:masterClrMapping/>
  </p:clrMapOvr>
  <p:transition spd="slow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21/11/202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0031377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E361C932-B43D-F861-8BEC-34052DDDEAB6}"/>
              </a:ext>
            </a:extLst>
          </p:cNvPr>
          <p:cNvSpPr/>
          <p:nvPr userDrawn="1"/>
        </p:nvSpPr>
        <p:spPr>
          <a:xfrm>
            <a:off x="543610" y="1507386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id="{598AFD82-84B7-B929-78D2-789C3F8CCBA9}"/>
              </a:ext>
            </a:extLst>
          </p:cNvPr>
          <p:cNvSpPr txBox="1">
            <a:spLocks/>
          </p:cNvSpPr>
          <p:nvPr userDrawn="1"/>
        </p:nvSpPr>
        <p:spPr>
          <a:xfrm>
            <a:off x="543610" y="828156"/>
            <a:ext cx="7886700" cy="523782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565F8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تنظيم حصص الأسبوع التربوي الأول</a:t>
            </a: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5398ACC3-FEC4-B214-2200-53D5401C989B}"/>
              </a:ext>
            </a:extLst>
          </p:cNvPr>
          <p:cNvGrpSpPr/>
          <p:nvPr userDrawn="1"/>
        </p:nvGrpSpPr>
        <p:grpSpPr>
          <a:xfrm>
            <a:off x="2664000" y="1363386"/>
            <a:ext cx="1787772" cy="288000"/>
            <a:chOff x="963273" y="2342097"/>
            <a:chExt cx="1787772" cy="288000"/>
          </a:xfrm>
        </p:grpSpPr>
        <p:pic>
          <p:nvPicPr>
            <p:cNvPr id="5" name="Image 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C7970687-46CC-B631-3DE5-C4444E9279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FF24D4A-CD59-2671-37CD-FDF3D6E8C0F7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ثاني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E152EB3D-3F01-995A-D8AD-C9F66F45A737}"/>
              </a:ext>
            </a:extLst>
          </p:cNvPr>
          <p:cNvSpPr/>
          <p:nvPr userDrawn="1"/>
        </p:nvSpPr>
        <p:spPr>
          <a:xfrm>
            <a:off x="543610" y="3209330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713E2199-C99F-884B-645C-5436BB0FF3E9}"/>
              </a:ext>
            </a:extLst>
          </p:cNvPr>
          <p:cNvGrpSpPr/>
          <p:nvPr userDrawn="1"/>
        </p:nvGrpSpPr>
        <p:grpSpPr>
          <a:xfrm>
            <a:off x="2664000" y="3065330"/>
            <a:ext cx="1787772" cy="288000"/>
            <a:chOff x="963273" y="2342097"/>
            <a:chExt cx="1787772" cy="288000"/>
          </a:xfrm>
        </p:grpSpPr>
        <p:pic>
          <p:nvPicPr>
            <p:cNvPr id="11" name="Image 10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A9AAB978-56B5-DC6A-35FB-8F99900FAF3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A34902E-32B8-A2E2-6693-601E5A6EB349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رابع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id="{F333A3CC-6303-7D66-3B34-BBDE13D56C0B}"/>
              </a:ext>
            </a:extLst>
          </p:cNvPr>
          <p:cNvSpPr/>
          <p:nvPr userDrawn="1"/>
        </p:nvSpPr>
        <p:spPr>
          <a:xfrm>
            <a:off x="543610" y="4911275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11FB446D-CEA1-F233-DA4B-E45ACEF1DEFB}"/>
              </a:ext>
            </a:extLst>
          </p:cNvPr>
          <p:cNvGrpSpPr/>
          <p:nvPr userDrawn="1"/>
        </p:nvGrpSpPr>
        <p:grpSpPr>
          <a:xfrm>
            <a:off x="2664000" y="4767275"/>
            <a:ext cx="1787772" cy="288000"/>
            <a:chOff x="963273" y="2342097"/>
            <a:chExt cx="1787772" cy="288000"/>
          </a:xfrm>
        </p:grpSpPr>
        <p:pic>
          <p:nvPicPr>
            <p:cNvPr id="15" name="Image 1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6A55D38E-F252-69A6-1FCB-40A292CC10E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C2391DB-0FC3-D897-F5BF-96B792A51AC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سادس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4F4026A5-FF1B-E446-E9A7-AF0055EFE932}"/>
              </a:ext>
            </a:extLst>
          </p:cNvPr>
          <p:cNvSpPr/>
          <p:nvPr userDrawn="1"/>
        </p:nvSpPr>
        <p:spPr>
          <a:xfrm>
            <a:off x="4735350" y="1502284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1" name="Rectangle : coins arrondis 20">
            <a:extLst>
              <a:ext uri="{FF2B5EF4-FFF2-40B4-BE49-F238E27FC236}">
                <a16:creationId xmlns:a16="http://schemas.microsoft.com/office/drawing/2014/main" id="{383E4ED1-F046-0607-36DC-67B4321F12F9}"/>
              </a:ext>
            </a:extLst>
          </p:cNvPr>
          <p:cNvSpPr/>
          <p:nvPr userDrawn="1"/>
        </p:nvSpPr>
        <p:spPr>
          <a:xfrm>
            <a:off x="4735350" y="1502283"/>
            <a:ext cx="3780000" cy="1440000"/>
          </a:xfrm>
          <a:prstGeom prst="roundRect">
            <a:avLst>
              <a:gd name="adj" fmla="val 8586"/>
            </a:avLst>
          </a:prstGeom>
          <a:solidFill>
            <a:srgbClr val="D5F4F6"/>
          </a:solidFill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22" name="Groupe 21">
            <a:extLst>
              <a:ext uri="{FF2B5EF4-FFF2-40B4-BE49-F238E27FC236}">
                <a16:creationId xmlns:a16="http://schemas.microsoft.com/office/drawing/2014/main" id="{A7FC7ADA-8971-A681-A7D3-3658BD7AFA5F}"/>
              </a:ext>
            </a:extLst>
          </p:cNvPr>
          <p:cNvGrpSpPr/>
          <p:nvPr userDrawn="1"/>
        </p:nvGrpSpPr>
        <p:grpSpPr>
          <a:xfrm>
            <a:off x="6876000" y="3060228"/>
            <a:ext cx="1787772" cy="288000"/>
            <a:chOff x="963273" y="2342097"/>
            <a:chExt cx="1787772" cy="288000"/>
          </a:xfrm>
        </p:grpSpPr>
        <p:pic>
          <p:nvPicPr>
            <p:cNvPr id="23" name="Image 22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A94CC92C-6185-84DD-6E63-7EB955D78AC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C6B3217-D89F-5435-B62C-FA55739EBBB3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ثالث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sp>
        <p:nvSpPr>
          <p:cNvPr id="25" name="Rectangle : coins arrondis 24">
            <a:extLst>
              <a:ext uri="{FF2B5EF4-FFF2-40B4-BE49-F238E27FC236}">
                <a16:creationId xmlns:a16="http://schemas.microsoft.com/office/drawing/2014/main" id="{61F8FDD8-3482-4B53-B6D1-4855B1478A92}"/>
              </a:ext>
            </a:extLst>
          </p:cNvPr>
          <p:cNvSpPr/>
          <p:nvPr userDrawn="1"/>
        </p:nvSpPr>
        <p:spPr>
          <a:xfrm>
            <a:off x="4735350" y="4906173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DCB39F1F-AB81-F657-221D-A52EDD8FF5FF}"/>
              </a:ext>
            </a:extLst>
          </p:cNvPr>
          <p:cNvGrpSpPr/>
          <p:nvPr userDrawn="1"/>
        </p:nvGrpSpPr>
        <p:grpSpPr>
          <a:xfrm>
            <a:off x="6876000" y="4762173"/>
            <a:ext cx="1787772" cy="288000"/>
            <a:chOff x="963273" y="2342097"/>
            <a:chExt cx="1787772" cy="288000"/>
          </a:xfrm>
        </p:grpSpPr>
        <p:pic>
          <p:nvPicPr>
            <p:cNvPr id="27" name="Image 26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5B73CD80-C8D2-C04E-0C96-2E3276C83D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84EF71E-D215-2C2E-EFAD-6763B5FFDF1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خامس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sp>
        <p:nvSpPr>
          <p:cNvPr id="2" name="Espace réservé du texte 29">
            <a:extLst>
              <a:ext uri="{FF2B5EF4-FFF2-40B4-BE49-F238E27FC236}">
                <a16:creationId xmlns:a16="http://schemas.microsoft.com/office/drawing/2014/main" id="{25056885-FA64-D09B-26FE-85CF4F679F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3610" y="1512000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4" name="Espace réservé du texte 29">
            <a:extLst>
              <a:ext uri="{FF2B5EF4-FFF2-40B4-BE49-F238E27FC236}">
                <a16:creationId xmlns:a16="http://schemas.microsoft.com/office/drawing/2014/main" id="{93778A39-AF25-ED00-5098-369F58C4D7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3610" y="3213945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29" name="Espace réservé du texte 29">
            <a:extLst>
              <a:ext uri="{FF2B5EF4-FFF2-40B4-BE49-F238E27FC236}">
                <a16:creationId xmlns:a16="http://schemas.microsoft.com/office/drawing/2014/main" id="{40ABE254-A8C6-779E-D670-312AF958BE4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68130" y="4919544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2FC31E5C-B8D7-6A19-A642-3F6EA92819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56838" y="1507386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1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1" name="Espace réservé du texte 29">
            <a:extLst>
              <a:ext uri="{FF2B5EF4-FFF2-40B4-BE49-F238E27FC236}">
                <a16:creationId xmlns:a16="http://schemas.microsoft.com/office/drawing/2014/main" id="{67179967-8610-1723-242E-1E4CD52846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35350" y="4917621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2" name="Espace réservé du texte 29">
            <a:extLst>
              <a:ext uri="{FF2B5EF4-FFF2-40B4-BE49-F238E27FC236}">
                <a16:creationId xmlns:a16="http://schemas.microsoft.com/office/drawing/2014/main" id="{049FF31D-572A-E6E6-F61A-D9F1DF02E8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35350" y="3322173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r" rtl="1">
              <a:defRPr sz="1200">
                <a:solidFill>
                  <a:srgbClr val="565F8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8D935484-1F87-FE61-7649-B4F2CD08FDB0}"/>
              </a:ext>
            </a:extLst>
          </p:cNvPr>
          <p:cNvGrpSpPr/>
          <p:nvPr userDrawn="1"/>
        </p:nvGrpSpPr>
        <p:grpSpPr>
          <a:xfrm>
            <a:off x="6876000" y="1394055"/>
            <a:ext cx="1787772" cy="288000"/>
            <a:chOff x="963273" y="2342097"/>
            <a:chExt cx="1787772" cy="288000"/>
          </a:xfrm>
        </p:grpSpPr>
        <p:pic>
          <p:nvPicPr>
            <p:cNvPr id="19" name="Image 18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E9EDA4B9-95AE-1161-6E2B-4D19D4913D4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F72566A-0A75-874C-8ADE-90A75565CC25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أول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49452517"/>
      </p:ext>
    </p:extLst>
  </p:cSld>
  <p:clrMapOvr>
    <a:masterClrMapping/>
  </p:clrMapOvr>
  <p:transition spd="slow"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E361C932-B43D-F861-8BEC-34052DDDEAB6}"/>
              </a:ext>
            </a:extLst>
          </p:cNvPr>
          <p:cNvSpPr/>
          <p:nvPr userDrawn="1"/>
        </p:nvSpPr>
        <p:spPr>
          <a:xfrm>
            <a:off x="543610" y="1507386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id="{598AFD82-84B7-B929-78D2-789C3F8CCBA9}"/>
              </a:ext>
            </a:extLst>
          </p:cNvPr>
          <p:cNvSpPr txBox="1">
            <a:spLocks/>
          </p:cNvSpPr>
          <p:nvPr userDrawn="1"/>
        </p:nvSpPr>
        <p:spPr>
          <a:xfrm>
            <a:off x="543610" y="828156"/>
            <a:ext cx="7886700" cy="523782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565F8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تنظيم حصص الأسبوع التربوي الأول</a:t>
            </a:r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E152EB3D-3F01-995A-D8AD-C9F66F45A737}"/>
              </a:ext>
            </a:extLst>
          </p:cNvPr>
          <p:cNvSpPr/>
          <p:nvPr userDrawn="1"/>
        </p:nvSpPr>
        <p:spPr>
          <a:xfrm>
            <a:off x="543610" y="3209330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id="{F333A3CC-6303-7D66-3B34-BBDE13D56C0B}"/>
              </a:ext>
            </a:extLst>
          </p:cNvPr>
          <p:cNvSpPr/>
          <p:nvPr userDrawn="1"/>
        </p:nvSpPr>
        <p:spPr>
          <a:xfrm>
            <a:off x="543610" y="4911275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4F4026A5-FF1B-E446-E9A7-AF0055EFE932}"/>
              </a:ext>
            </a:extLst>
          </p:cNvPr>
          <p:cNvSpPr/>
          <p:nvPr userDrawn="1"/>
        </p:nvSpPr>
        <p:spPr>
          <a:xfrm>
            <a:off x="4735350" y="1502284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1" name="Rectangle : coins arrondis 20">
            <a:extLst>
              <a:ext uri="{FF2B5EF4-FFF2-40B4-BE49-F238E27FC236}">
                <a16:creationId xmlns:a16="http://schemas.microsoft.com/office/drawing/2014/main" id="{383E4ED1-F046-0607-36DC-67B4321F12F9}"/>
              </a:ext>
            </a:extLst>
          </p:cNvPr>
          <p:cNvSpPr/>
          <p:nvPr userDrawn="1"/>
        </p:nvSpPr>
        <p:spPr>
          <a:xfrm>
            <a:off x="543610" y="1488634"/>
            <a:ext cx="3780000" cy="1440000"/>
          </a:xfrm>
          <a:prstGeom prst="roundRect">
            <a:avLst>
              <a:gd name="adj" fmla="val 8586"/>
            </a:avLst>
          </a:prstGeom>
          <a:solidFill>
            <a:srgbClr val="D5F4F6"/>
          </a:solidFill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5" name="Rectangle : coins arrondis 24">
            <a:extLst>
              <a:ext uri="{FF2B5EF4-FFF2-40B4-BE49-F238E27FC236}">
                <a16:creationId xmlns:a16="http://schemas.microsoft.com/office/drawing/2014/main" id="{61F8FDD8-3482-4B53-B6D1-4855B1478A92}"/>
              </a:ext>
            </a:extLst>
          </p:cNvPr>
          <p:cNvSpPr/>
          <p:nvPr userDrawn="1"/>
        </p:nvSpPr>
        <p:spPr>
          <a:xfrm>
            <a:off x="4735350" y="4906173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" name="Espace réservé du texte 29">
            <a:extLst>
              <a:ext uri="{FF2B5EF4-FFF2-40B4-BE49-F238E27FC236}">
                <a16:creationId xmlns:a16="http://schemas.microsoft.com/office/drawing/2014/main" id="{25056885-FA64-D09B-26FE-85CF4F679F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45330" y="3250173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4" name="Espace réservé du texte 29">
            <a:extLst>
              <a:ext uri="{FF2B5EF4-FFF2-40B4-BE49-F238E27FC236}">
                <a16:creationId xmlns:a16="http://schemas.microsoft.com/office/drawing/2014/main" id="{93778A39-AF25-ED00-5098-369F58C4D7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3610" y="3213945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9" name="Espace réservé du texte 29">
            <a:extLst>
              <a:ext uri="{FF2B5EF4-FFF2-40B4-BE49-F238E27FC236}">
                <a16:creationId xmlns:a16="http://schemas.microsoft.com/office/drawing/2014/main" id="{40ABE254-A8C6-779E-D670-312AF958BE4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3610" y="4918419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2FC31E5C-B8D7-6A19-A642-3F6EA92819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8130" y="1441646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1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1" name="Espace réservé du texte 29">
            <a:extLst>
              <a:ext uri="{FF2B5EF4-FFF2-40B4-BE49-F238E27FC236}">
                <a16:creationId xmlns:a16="http://schemas.microsoft.com/office/drawing/2014/main" id="{67179967-8610-1723-242E-1E4CD52846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35350" y="4917621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2" name="Espace réservé du texte 29">
            <a:extLst>
              <a:ext uri="{FF2B5EF4-FFF2-40B4-BE49-F238E27FC236}">
                <a16:creationId xmlns:a16="http://schemas.microsoft.com/office/drawing/2014/main" id="{049FF31D-572A-E6E6-F61A-D9F1DF02E8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45330" y="1520466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r" rtl="1">
              <a:defRPr sz="1200">
                <a:solidFill>
                  <a:srgbClr val="565F8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8D935484-1F87-FE61-7649-B4F2CD08FDB0}"/>
              </a:ext>
            </a:extLst>
          </p:cNvPr>
          <p:cNvGrpSpPr/>
          <p:nvPr userDrawn="1"/>
        </p:nvGrpSpPr>
        <p:grpSpPr>
          <a:xfrm>
            <a:off x="6876000" y="1394055"/>
            <a:ext cx="1787772" cy="288000"/>
            <a:chOff x="963273" y="2342097"/>
            <a:chExt cx="1787772" cy="288000"/>
          </a:xfrm>
        </p:grpSpPr>
        <p:pic>
          <p:nvPicPr>
            <p:cNvPr id="19" name="Image 18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E9EDA4B9-95AE-1161-6E2B-4D19D4913D4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F72566A-0A75-874C-8ADE-90A75565CC25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أول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7" name="Groupe 6">
            <a:extLst>
              <a:ext uri="{FF2B5EF4-FFF2-40B4-BE49-F238E27FC236}">
                <a16:creationId xmlns:a16="http://schemas.microsoft.com/office/drawing/2014/main" id="{5398ACC3-FEC4-B214-2200-53D5401C989B}"/>
              </a:ext>
            </a:extLst>
          </p:cNvPr>
          <p:cNvGrpSpPr/>
          <p:nvPr userDrawn="1"/>
        </p:nvGrpSpPr>
        <p:grpSpPr>
          <a:xfrm>
            <a:off x="2664000" y="1363386"/>
            <a:ext cx="1787772" cy="288000"/>
            <a:chOff x="963273" y="2342097"/>
            <a:chExt cx="1787772" cy="288000"/>
          </a:xfrm>
        </p:grpSpPr>
        <p:pic>
          <p:nvPicPr>
            <p:cNvPr id="5" name="Image 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C7970687-46CC-B631-3DE5-C4444E9279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FF24D4A-CD59-2671-37CD-FDF3D6E8C0F7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ثاني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10" name="Groupe 9">
            <a:extLst>
              <a:ext uri="{FF2B5EF4-FFF2-40B4-BE49-F238E27FC236}">
                <a16:creationId xmlns:a16="http://schemas.microsoft.com/office/drawing/2014/main" id="{713E2199-C99F-884B-645C-5436BB0FF3E9}"/>
              </a:ext>
            </a:extLst>
          </p:cNvPr>
          <p:cNvGrpSpPr/>
          <p:nvPr userDrawn="1"/>
        </p:nvGrpSpPr>
        <p:grpSpPr>
          <a:xfrm>
            <a:off x="2664000" y="3065330"/>
            <a:ext cx="1787772" cy="288000"/>
            <a:chOff x="963273" y="2342097"/>
            <a:chExt cx="1787772" cy="288000"/>
          </a:xfrm>
        </p:grpSpPr>
        <p:pic>
          <p:nvPicPr>
            <p:cNvPr id="11" name="Image 10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A9AAB978-56B5-DC6A-35FB-8F99900FAF3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A34902E-32B8-A2E2-6693-601E5A6EB349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رابع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22" name="Groupe 21">
            <a:extLst>
              <a:ext uri="{FF2B5EF4-FFF2-40B4-BE49-F238E27FC236}">
                <a16:creationId xmlns:a16="http://schemas.microsoft.com/office/drawing/2014/main" id="{A7FC7ADA-8971-A681-A7D3-3658BD7AFA5F}"/>
              </a:ext>
            </a:extLst>
          </p:cNvPr>
          <p:cNvGrpSpPr/>
          <p:nvPr userDrawn="1"/>
        </p:nvGrpSpPr>
        <p:grpSpPr>
          <a:xfrm>
            <a:off x="6876000" y="3060228"/>
            <a:ext cx="1787772" cy="288000"/>
            <a:chOff x="963273" y="2342097"/>
            <a:chExt cx="1787772" cy="288000"/>
          </a:xfrm>
        </p:grpSpPr>
        <p:pic>
          <p:nvPicPr>
            <p:cNvPr id="23" name="Image 22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A94CC92C-6185-84DD-6E63-7EB955D78AC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C6B3217-D89F-5435-B62C-FA55739EBBB3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ثالث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11FB446D-CEA1-F233-DA4B-E45ACEF1DEFB}"/>
              </a:ext>
            </a:extLst>
          </p:cNvPr>
          <p:cNvGrpSpPr/>
          <p:nvPr userDrawn="1"/>
        </p:nvGrpSpPr>
        <p:grpSpPr>
          <a:xfrm>
            <a:off x="2664000" y="4767275"/>
            <a:ext cx="1787772" cy="288000"/>
            <a:chOff x="963273" y="2342097"/>
            <a:chExt cx="1787772" cy="288000"/>
          </a:xfrm>
        </p:grpSpPr>
        <p:pic>
          <p:nvPicPr>
            <p:cNvPr id="15" name="Image 1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6A55D38E-F252-69A6-1FCB-40A292CC10E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C2391DB-0FC3-D897-F5BF-96B792A51AC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سادس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DCB39F1F-AB81-F657-221D-A52EDD8FF5FF}"/>
              </a:ext>
            </a:extLst>
          </p:cNvPr>
          <p:cNvGrpSpPr/>
          <p:nvPr userDrawn="1"/>
        </p:nvGrpSpPr>
        <p:grpSpPr>
          <a:xfrm>
            <a:off x="6876000" y="4762173"/>
            <a:ext cx="1787772" cy="288000"/>
            <a:chOff x="963273" y="2342097"/>
            <a:chExt cx="1787772" cy="288000"/>
          </a:xfrm>
        </p:grpSpPr>
        <p:pic>
          <p:nvPicPr>
            <p:cNvPr id="27" name="Image 26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5B73CD80-C8D2-C04E-0C96-2E3276C83D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84EF71E-D215-2C2E-EFAD-6763B5FFDF1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خامس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46998287"/>
      </p:ext>
    </p:extLst>
  </p:cSld>
  <p:clrMapOvr>
    <a:masterClrMapping/>
  </p:clrMapOvr>
  <p:transition spd="slow"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E361C932-B43D-F861-8BEC-34052DDDEAB6}"/>
              </a:ext>
            </a:extLst>
          </p:cNvPr>
          <p:cNvSpPr/>
          <p:nvPr userDrawn="1"/>
        </p:nvSpPr>
        <p:spPr>
          <a:xfrm>
            <a:off x="543610" y="1507386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id="{598AFD82-84B7-B929-78D2-789C3F8CCBA9}"/>
              </a:ext>
            </a:extLst>
          </p:cNvPr>
          <p:cNvSpPr txBox="1">
            <a:spLocks/>
          </p:cNvSpPr>
          <p:nvPr userDrawn="1"/>
        </p:nvSpPr>
        <p:spPr>
          <a:xfrm>
            <a:off x="543610" y="828156"/>
            <a:ext cx="7886700" cy="523782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565F8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تنظيم حصص الأسبوع التربوي الأول</a:t>
            </a:r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E152EB3D-3F01-995A-D8AD-C9F66F45A737}"/>
              </a:ext>
            </a:extLst>
          </p:cNvPr>
          <p:cNvSpPr/>
          <p:nvPr userDrawn="1"/>
        </p:nvSpPr>
        <p:spPr>
          <a:xfrm>
            <a:off x="543610" y="3209330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id="{F333A3CC-6303-7D66-3B34-BBDE13D56C0B}"/>
              </a:ext>
            </a:extLst>
          </p:cNvPr>
          <p:cNvSpPr/>
          <p:nvPr userDrawn="1"/>
        </p:nvSpPr>
        <p:spPr>
          <a:xfrm>
            <a:off x="543610" y="4911275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4F4026A5-FF1B-E446-E9A7-AF0055EFE932}"/>
              </a:ext>
            </a:extLst>
          </p:cNvPr>
          <p:cNvSpPr/>
          <p:nvPr userDrawn="1"/>
        </p:nvSpPr>
        <p:spPr>
          <a:xfrm>
            <a:off x="4735350" y="1502284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1" name="Rectangle : coins arrondis 20">
            <a:extLst>
              <a:ext uri="{FF2B5EF4-FFF2-40B4-BE49-F238E27FC236}">
                <a16:creationId xmlns:a16="http://schemas.microsoft.com/office/drawing/2014/main" id="{383E4ED1-F046-0607-36DC-67B4321F12F9}"/>
              </a:ext>
            </a:extLst>
          </p:cNvPr>
          <p:cNvSpPr/>
          <p:nvPr userDrawn="1"/>
        </p:nvSpPr>
        <p:spPr>
          <a:xfrm>
            <a:off x="4811366" y="3213945"/>
            <a:ext cx="3780000" cy="1440000"/>
          </a:xfrm>
          <a:prstGeom prst="roundRect">
            <a:avLst>
              <a:gd name="adj" fmla="val 8586"/>
            </a:avLst>
          </a:prstGeom>
          <a:solidFill>
            <a:srgbClr val="D5F4F6"/>
          </a:solidFill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5" name="Rectangle : coins arrondis 24">
            <a:extLst>
              <a:ext uri="{FF2B5EF4-FFF2-40B4-BE49-F238E27FC236}">
                <a16:creationId xmlns:a16="http://schemas.microsoft.com/office/drawing/2014/main" id="{61F8FDD8-3482-4B53-B6D1-4855B1478A92}"/>
              </a:ext>
            </a:extLst>
          </p:cNvPr>
          <p:cNvSpPr/>
          <p:nvPr userDrawn="1"/>
        </p:nvSpPr>
        <p:spPr>
          <a:xfrm>
            <a:off x="4735350" y="4906173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" name="Espace réservé du texte 29">
            <a:extLst>
              <a:ext uri="{FF2B5EF4-FFF2-40B4-BE49-F238E27FC236}">
                <a16:creationId xmlns:a16="http://schemas.microsoft.com/office/drawing/2014/main" id="{25056885-FA64-D09B-26FE-85CF4F679F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3610" y="1512000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4" name="Espace réservé du texte 29">
            <a:extLst>
              <a:ext uri="{FF2B5EF4-FFF2-40B4-BE49-F238E27FC236}">
                <a16:creationId xmlns:a16="http://schemas.microsoft.com/office/drawing/2014/main" id="{93778A39-AF25-ED00-5098-369F58C4D7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3610" y="3213945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29" name="Espace réservé du texte 29">
            <a:extLst>
              <a:ext uri="{FF2B5EF4-FFF2-40B4-BE49-F238E27FC236}">
                <a16:creationId xmlns:a16="http://schemas.microsoft.com/office/drawing/2014/main" id="{40ABE254-A8C6-779E-D670-312AF958BE4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68130" y="4919544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2FC31E5C-B8D7-6A19-A642-3F6EA92819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11366" y="3236048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1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1" name="Espace réservé du texte 29">
            <a:extLst>
              <a:ext uri="{FF2B5EF4-FFF2-40B4-BE49-F238E27FC236}">
                <a16:creationId xmlns:a16="http://schemas.microsoft.com/office/drawing/2014/main" id="{67179967-8610-1723-242E-1E4CD52846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35350" y="4917621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2" name="Espace réservé du texte 29">
            <a:extLst>
              <a:ext uri="{FF2B5EF4-FFF2-40B4-BE49-F238E27FC236}">
                <a16:creationId xmlns:a16="http://schemas.microsoft.com/office/drawing/2014/main" id="{049FF31D-572A-E6E6-F61A-D9F1DF02E8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45330" y="1520466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r" rtl="1">
              <a:defRPr sz="1200">
                <a:solidFill>
                  <a:srgbClr val="565F8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8D935484-1F87-FE61-7649-B4F2CD08FDB0}"/>
              </a:ext>
            </a:extLst>
          </p:cNvPr>
          <p:cNvGrpSpPr/>
          <p:nvPr userDrawn="1"/>
        </p:nvGrpSpPr>
        <p:grpSpPr>
          <a:xfrm>
            <a:off x="6876000" y="1394055"/>
            <a:ext cx="1787772" cy="288000"/>
            <a:chOff x="963273" y="2342097"/>
            <a:chExt cx="1787772" cy="288000"/>
          </a:xfrm>
        </p:grpSpPr>
        <p:pic>
          <p:nvPicPr>
            <p:cNvPr id="19" name="Image 18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E9EDA4B9-95AE-1161-6E2B-4D19D4913D4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F72566A-0A75-874C-8ADE-90A75565CC25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أول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22" name="Groupe 21">
            <a:extLst>
              <a:ext uri="{FF2B5EF4-FFF2-40B4-BE49-F238E27FC236}">
                <a16:creationId xmlns:a16="http://schemas.microsoft.com/office/drawing/2014/main" id="{A7FC7ADA-8971-A681-A7D3-3658BD7AFA5F}"/>
              </a:ext>
            </a:extLst>
          </p:cNvPr>
          <p:cNvGrpSpPr/>
          <p:nvPr userDrawn="1"/>
        </p:nvGrpSpPr>
        <p:grpSpPr>
          <a:xfrm>
            <a:off x="6876000" y="3060228"/>
            <a:ext cx="1787772" cy="288000"/>
            <a:chOff x="963273" y="2342097"/>
            <a:chExt cx="1787772" cy="288000"/>
          </a:xfrm>
        </p:grpSpPr>
        <p:pic>
          <p:nvPicPr>
            <p:cNvPr id="23" name="Image 22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A94CC92C-6185-84DD-6E63-7EB955D78AC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C6B3217-D89F-5435-B62C-FA55739EBBB3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ثالث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10" name="Groupe 9">
            <a:extLst>
              <a:ext uri="{FF2B5EF4-FFF2-40B4-BE49-F238E27FC236}">
                <a16:creationId xmlns:a16="http://schemas.microsoft.com/office/drawing/2014/main" id="{713E2199-C99F-884B-645C-5436BB0FF3E9}"/>
              </a:ext>
            </a:extLst>
          </p:cNvPr>
          <p:cNvGrpSpPr/>
          <p:nvPr userDrawn="1"/>
        </p:nvGrpSpPr>
        <p:grpSpPr>
          <a:xfrm>
            <a:off x="2664000" y="3065330"/>
            <a:ext cx="1787772" cy="288000"/>
            <a:chOff x="963273" y="2342097"/>
            <a:chExt cx="1787772" cy="288000"/>
          </a:xfrm>
        </p:grpSpPr>
        <p:pic>
          <p:nvPicPr>
            <p:cNvPr id="11" name="Image 10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A9AAB978-56B5-DC6A-35FB-8F99900FAF3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A34902E-32B8-A2E2-6693-601E5A6EB349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رابع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7" name="Groupe 6">
            <a:extLst>
              <a:ext uri="{FF2B5EF4-FFF2-40B4-BE49-F238E27FC236}">
                <a16:creationId xmlns:a16="http://schemas.microsoft.com/office/drawing/2014/main" id="{5398ACC3-FEC4-B214-2200-53D5401C989B}"/>
              </a:ext>
            </a:extLst>
          </p:cNvPr>
          <p:cNvGrpSpPr/>
          <p:nvPr userDrawn="1"/>
        </p:nvGrpSpPr>
        <p:grpSpPr>
          <a:xfrm>
            <a:off x="2664000" y="1363386"/>
            <a:ext cx="1787772" cy="288000"/>
            <a:chOff x="963273" y="2342097"/>
            <a:chExt cx="1787772" cy="288000"/>
          </a:xfrm>
        </p:grpSpPr>
        <p:pic>
          <p:nvPicPr>
            <p:cNvPr id="5" name="Image 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C7970687-46CC-B631-3DE5-C4444E9279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FF24D4A-CD59-2671-37CD-FDF3D6E8C0F7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ثاني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DCB39F1F-AB81-F657-221D-A52EDD8FF5FF}"/>
              </a:ext>
            </a:extLst>
          </p:cNvPr>
          <p:cNvGrpSpPr/>
          <p:nvPr userDrawn="1"/>
        </p:nvGrpSpPr>
        <p:grpSpPr>
          <a:xfrm>
            <a:off x="6876000" y="4762173"/>
            <a:ext cx="1787772" cy="288000"/>
            <a:chOff x="963273" y="2342097"/>
            <a:chExt cx="1787772" cy="288000"/>
          </a:xfrm>
        </p:grpSpPr>
        <p:pic>
          <p:nvPicPr>
            <p:cNvPr id="27" name="Image 26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5B73CD80-C8D2-C04E-0C96-2E3276C83D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84EF71E-D215-2C2E-EFAD-6763B5FFDF1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خامس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11FB446D-CEA1-F233-DA4B-E45ACEF1DEFB}"/>
              </a:ext>
            </a:extLst>
          </p:cNvPr>
          <p:cNvGrpSpPr/>
          <p:nvPr userDrawn="1"/>
        </p:nvGrpSpPr>
        <p:grpSpPr>
          <a:xfrm>
            <a:off x="2664000" y="4767275"/>
            <a:ext cx="1787772" cy="288000"/>
            <a:chOff x="963273" y="2342097"/>
            <a:chExt cx="1787772" cy="288000"/>
          </a:xfrm>
        </p:grpSpPr>
        <p:pic>
          <p:nvPicPr>
            <p:cNvPr id="15" name="Image 1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6A55D38E-F252-69A6-1FCB-40A292CC10E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C2391DB-0FC3-D897-F5BF-96B792A51AC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سادس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28808698"/>
      </p:ext>
    </p:extLst>
  </p:cSld>
  <p:clrMapOvr>
    <a:masterClrMapping/>
  </p:clrMapOvr>
  <p:transition spd="slow"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E361C932-B43D-F861-8BEC-34052DDDEAB6}"/>
              </a:ext>
            </a:extLst>
          </p:cNvPr>
          <p:cNvSpPr/>
          <p:nvPr userDrawn="1"/>
        </p:nvSpPr>
        <p:spPr>
          <a:xfrm>
            <a:off x="543610" y="1507386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id="{598AFD82-84B7-B929-78D2-789C3F8CCBA9}"/>
              </a:ext>
            </a:extLst>
          </p:cNvPr>
          <p:cNvSpPr txBox="1">
            <a:spLocks/>
          </p:cNvSpPr>
          <p:nvPr userDrawn="1"/>
        </p:nvSpPr>
        <p:spPr>
          <a:xfrm>
            <a:off x="628650" y="834502"/>
            <a:ext cx="7886700" cy="523782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565F8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Modifiez le style du titre</a:t>
            </a:r>
            <a:endParaRPr kumimoji="0" lang="fr-MA" sz="28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ea typeface="+mj-ea"/>
              <a:cs typeface="Microsoft Uighur" panose="02000000000000000000" pitchFamily="2" charset="-78"/>
            </a:endParaRP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5398ACC3-FEC4-B214-2200-53D5401C989B}"/>
              </a:ext>
            </a:extLst>
          </p:cNvPr>
          <p:cNvGrpSpPr/>
          <p:nvPr userDrawn="1"/>
        </p:nvGrpSpPr>
        <p:grpSpPr>
          <a:xfrm>
            <a:off x="2664000" y="1363386"/>
            <a:ext cx="1787772" cy="288000"/>
            <a:chOff x="963273" y="2342097"/>
            <a:chExt cx="1787772" cy="288000"/>
          </a:xfrm>
        </p:grpSpPr>
        <p:pic>
          <p:nvPicPr>
            <p:cNvPr id="5" name="Image 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C7970687-46CC-B631-3DE5-C4444E9279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FF24D4A-CD59-2671-37CD-FDF3D6E8C0F7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1</a:t>
              </a:r>
            </a:p>
          </p:txBody>
        </p:sp>
      </p:grp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E152EB3D-3F01-995A-D8AD-C9F66F45A737}"/>
              </a:ext>
            </a:extLst>
          </p:cNvPr>
          <p:cNvSpPr/>
          <p:nvPr userDrawn="1"/>
        </p:nvSpPr>
        <p:spPr>
          <a:xfrm>
            <a:off x="543610" y="3209330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713E2199-C99F-884B-645C-5436BB0FF3E9}"/>
              </a:ext>
            </a:extLst>
          </p:cNvPr>
          <p:cNvGrpSpPr/>
          <p:nvPr userDrawn="1"/>
        </p:nvGrpSpPr>
        <p:grpSpPr>
          <a:xfrm>
            <a:off x="2664000" y="3065330"/>
            <a:ext cx="1787772" cy="288000"/>
            <a:chOff x="963273" y="2342097"/>
            <a:chExt cx="1787772" cy="288000"/>
          </a:xfrm>
        </p:grpSpPr>
        <p:pic>
          <p:nvPicPr>
            <p:cNvPr id="11" name="Image 10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A9AAB978-56B5-DC6A-35FB-8F99900FAF3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A34902E-32B8-A2E2-6693-601E5A6EB349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2</a:t>
              </a:r>
            </a:p>
          </p:txBody>
        </p:sp>
      </p:grp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id="{F333A3CC-6303-7D66-3B34-BBDE13D56C0B}"/>
              </a:ext>
            </a:extLst>
          </p:cNvPr>
          <p:cNvSpPr/>
          <p:nvPr userDrawn="1"/>
        </p:nvSpPr>
        <p:spPr>
          <a:xfrm>
            <a:off x="543610" y="4911275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11FB446D-CEA1-F233-DA4B-E45ACEF1DEFB}"/>
              </a:ext>
            </a:extLst>
          </p:cNvPr>
          <p:cNvGrpSpPr/>
          <p:nvPr userDrawn="1"/>
        </p:nvGrpSpPr>
        <p:grpSpPr>
          <a:xfrm>
            <a:off x="2664000" y="4767275"/>
            <a:ext cx="1787772" cy="288000"/>
            <a:chOff x="963273" y="2342097"/>
            <a:chExt cx="1787772" cy="288000"/>
          </a:xfrm>
        </p:grpSpPr>
        <p:pic>
          <p:nvPicPr>
            <p:cNvPr id="15" name="Image 1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6A55D38E-F252-69A6-1FCB-40A292CC10E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C2391DB-0FC3-D897-F5BF-96B792A51AC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3</a:t>
              </a:r>
            </a:p>
          </p:txBody>
        </p:sp>
      </p:grp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4F4026A5-FF1B-E446-E9A7-AF0055EFE932}"/>
              </a:ext>
            </a:extLst>
          </p:cNvPr>
          <p:cNvSpPr/>
          <p:nvPr userDrawn="1"/>
        </p:nvSpPr>
        <p:spPr>
          <a:xfrm>
            <a:off x="4735350" y="1502284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8D935484-1F87-FE61-7649-B4F2CD08FDB0}"/>
              </a:ext>
            </a:extLst>
          </p:cNvPr>
          <p:cNvGrpSpPr/>
          <p:nvPr userDrawn="1"/>
        </p:nvGrpSpPr>
        <p:grpSpPr>
          <a:xfrm>
            <a:off x="6876000" y="1358284"/>
            <a:ext cx="1787772" cy="288000"/>
            <a:chOff x="963273" y="2342097"/>
            <a:chExt cx="1787772" cy="288000"/>
          </a:xfrm>
        </p:grpSpPr>
        <p:pic>
          <p:nvPicPr>
            <p:cNvPr id="19" name="Image 18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E9EDA4B9-95AE-1161-6E2B-4D19D4913D4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F72566A-0A75-874C-8ADE-90A75565CC25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4</a:t>
              </a:r>
            </a:p>
          </p:txBody>
        </p:sp>
      </p:grpSp>
      <p:sp>
        <p:nvSpPr>
          <p:cNvPr id="21" name="Rectangle : coins arrondis 20">
            <a:extLst>
              <a:ext uri="{FF2B5EF4-FFF2-40B4-BE49-F238E27FC236}">
                <a16:creationId xmlns:a16="http://schemas.microsoft.com/office/drawing/2014/main" id="{383E4ED1-F046-0607-36DC-67B4321F12F9}"/>
              </a:ext>
            </a:extLst>
          </p:cNvPr>
          <p:cNvSpPr/>
          <p:nvPr userDrawn="1"/>
        </p:nvSpPr>
        <p:spPr>
          <a:xfrm>
            <a:off x="4735350" y="3204228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22" name="Groupe 21">
            <a:extLst>
              <a:ext uri="{FF2B5EF4-FFF2-40B4-BE49-F238E27FC236}">
                <a16:creationId xmlns:a16="http://schemas.microsoft.com/office/drawing/2014/main" id="{A7FC7ADA-8971-A681-A7D3-3658BD7AFA5F}"/>
              </a:ext>
            </a:extLst>
          </p:cNvPr>
          <p:cNvGrpSpPr/>
          <p:nvPr userDrawn="1"/>
        </p:nvGrpSpPr>
        <p:grpSpPr>
          <a:xfrm>
            <a:off x="6876000" y="3060228"/>
            <a:ext cx="1787772" cy="288000"/>
            <a:chOff x="963273" y="2342097"/>
            <a:chExt cx="1787772" cy="288000"/>
          </a:xfrm>
        </p:grpSpPr>
        <p:pic>
          <p:nvPicPr>
            <p:cNvPr id="23" name="Image 22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A94CC92C-6185-84DD-6E63-7EB955D78AC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C6B3217-D89F-5435-B62C-FA55739EBBB3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5</a:t>
              </a:r>
            </a:p>
          </p:txBody>
        </p:sp>
      </p:grpSp>
      <p:sp>
        <p:nvSpPr>
          <p:cNvPr id="25" name="Rectangle : coins arrondis 24">
            <a:extLst>
              <a:ext uri="{FF2B5EF4-FFF2-40B4-BE49-F238E27FC236}">
                <a16:creationId xmlns:a16="http://schemas.microsoft.com/office/drawing/2014/main" id="{61F8FDD8-3482-4B53-B6D1-4855B1478A92}"/>
              </a:ext>
            </a:extLst>
          </p:cNvPr>
          <p:cNvSpPr/>
          <p:nvPr userDrawn="1"/>
        </p:nvSpPr>
        <p:spPr>
          <a:xfrm>
            <a:off x="4735350" y="4906173"/>
            <a:ext cx="3780000" cy="1440000"/>
          </a:xfrm>
          <a:prstGeom prst="roundRect">
            <a:avLst>
              <a:gd name="adj" fmla="val 8586"/>
            </a:avLst>
          </a:prstGeom>
          <a:solidFill>
            <a:srgbClr val="D5F4F6"/>
          </a:solidFill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DCB39F1F-AB81-F657-221D-A52EDD8FF5FF}"/>
              </a:ext>
            </a:extLst>
          </p:cNvPr>
          <p:cNvGrpSpPr/>
          <p:nvPr userDrawn="1"/>
        </p:nvGrpSpPr>
        <p:grpSpPr>
          <a:xfrm>
            <a:off x="6876000" y="4762173"/>
            <a:ext cx="1787772" cy="288000"/>
            <a:chOff x="963273" y="2342097"/>
            <a:chExt cx="1787772" cy="288000"/>
          </a:xfrm>
        </p:grpSpPr>
        <p:pic>
          <p:nvPicPr>
            <p:cNvPr id="27" name="Image 26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5B73CD80-C8D2-C04E-0C96-2E3276C83D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84EF71E-D215-2C2E-EFAD-6763B5FFDF1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6</a:t>
              </a:r>
            </a:p>
          </p:txBody>
        </p:sp>
      </p:grpSp>
      <p:sp>
        <p:nvSpPr>
          <p:cNvPr id="2" name="Espace réservé du texte 29">
            <a:extLst>
              <a:ext uri="{FF2B5EF4-FFF2-40B4-BE49-F238E27FC236}">
                <a16:creationId xmlns:a16="http://schemas.microsoft.com/office/drawing/2014/main" id="{C2ADEA47-53F7-0AF0-3372-8233D45817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3610" y="1512000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4" name="Espace réservé du texte 29">
            <a:extLst>
              <a:ext uri="{FF2B5EF4-FFF2-40B4-BE49-F238E27FC236}">
                <a16:creationId xmlns:a16="http://schemas.microsoft.com/office/drawing/2014/main" id="{70990D1D-7C73-EE33-8D5B-6391F064BC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3610" y="3209330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29" name="Espace réservé du texte 29">
            <a:extLst>
              <a:ext uri="{FF2B5EF4-FFF2-40B4-BE49-F238E27FC236}">
                <a16:creationId xmlns:a16="http://schemas.microsoft.com/office/drawing/2014/main" id="{17C0A59E-DC27-E4F2-BC37-CE6B27DC4D5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3610" y="4911275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E9D0546D-8442-4A6F-F0D1-77FAF613F2E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38960" y="3204228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1" name="Espace réservé du texte 29">
            <a:extLst>
              <a:ext uri="{FF2B5EF4-FFF2-40B4-BE49-F238E27FC236}">
                <a16:creationId xmlns:a16="http://schemas.microsoft.com/office/drawing/2014/main" id="{CB811CDB-4C95-517D-D592-BCC10856CA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38960" y="4906173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1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2" name="Espace réservé du texte 29">
            <a:extLst>
              <a:ext uri="{FF2B5EF4-FFF2-40B4-BE49-F238E27FC236}">
                <a16:creationId xmlns:a16="http://schemas.microsoft.com/office/drawing/2014/main" id="{0F179832-ADCB-6435-7E3C-B36F156DA0E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38960" y="1502284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862576040"/>
      </p:ext>
    </p:extLst>
  </p:cSld>
  <p:clrMapOvr>
    <a:masterClrMapping/>
  </p:clrMapOvr>
  <p:transition spd="slow"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E361C932-B43D-F861-8BEC-34052DDDEAB6}"/>
              </a:ext>
            </a:extLst>
          </p:cNvPr>
          <p:cNvSpPr/>
          <p:nvPr userDrawn="1"/>
        </p:nvSpPr>
        <p:spPr>
          <a:xfrm>
            <a:off x="543610" y="1507386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id="{598AFD82-84B7-B929-78D2-789C3F8CCBA9}"/>
              </a:ext>
            </a:extLst>
          </p:cNvPr>
          <p:cNvSpPr txBox="1">
            <a:spLocks/>
          </p:cNvSpPr>
          <p:nvPr userDrawn="1"/>
        </p:nvSpPr>
        <p:spPr>
          <a:xfrm>
            <a:off x="543610" y="828156"/>
            <a:ext cx="7886700" cy="523782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565F8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تنظيم حصص الأسبوع التربوي الأول</a:t>
            </a:r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E152EB3D-3F01-995A-D8AD-C9F66F45A737}"/>
              </a:ext>
            </a:extLst>
          </p:cNvPr>
          <p:cNvSpPr/>
          <p:nvPr userDrawn="1"/>
        </p:nvSpPr>
        <p:spPr>
          <a:xfrm>
            <a:off x="543610" y="3209330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id="{F333A3CC-6303-7D66-3B34-BBDE13D56C0B}"/>
              </a:ext>
            </a:extLst>
          </p:cNvPr>
          <p:cNvSpPr/>
          <p:nvPr userDrawn="1"/>
        </p:nvSpPr>
        <p:spPr>
          <a:xfrm>
            <a:off x="543610" y="4911275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4F4026A5-FF1B-E446-E9A7-AF0055EFE932}"/>
              </a:ext>
            </a:extLst>
          </p:cNvPr>
          <p:cNvSpPr/>
          <p:nvPr userDrawn="1"/>
        </p:nvSpPr>
        <p:spPr>
          <a:xfrm>
            <a:off x="4735350" y="1502284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1" name="Rectangle : coins arrondis 20">
            <a:extLst>
              <a:ext uri="{FF2B5EF4-FFF2-40B4-BE49-F238E27FC236}">
                <a16:creationId xmlns:a16="http://schemas.microsoft.com/office/drawing/2014/main" id="{383E4ED1-F046-0607-36DC-67B4321F12F9}"/>
              </a:ext>
            </a:extLst>
          </p:cNvPr>
          <p:cNvSpPr/>
          <p:nvPr userDrawn="1"/>
        </p:nvSpPr>
        <p:spPr>
          <a:xfrm>
            <a:off x="543610" y="3225868"/>
            <a:ext cx="3780000" cy="1440000"/>
          </a:xfrm>
          <a:prstGeom prst="roundRect">
            <a:avLst>
              <a:gd name="adj" fmla="val 8586"/>
            </a:avLst>
          </a:prstGeom>
          <a:solidFill>
            <a:srgbClr val="D5F4F6"/>
          </a:solidFill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5" name="Rectangle : coins arrondis 24">
            <a:extLst>
              <a:ext uri="{FF2B5EF4-FFF2-40B4-BE49-F238E27FC236}">
                <a16:creationId xmlns:a16="http://schemas.microsoft.com/office/drawing/2014/main" id="{61F8FDD8-3482-4B53-B6D1-4855B1478A92}"/>
              </a:ext>
            </a:extLst>
          </p:cNvPr>
          <p:cNvSpPr/>
          <p:nvPr userDrawn="1"/>
        </p:nvSpPr>
        <p:spPr>
          <a:xfrm>
            <a:off x="4735350" y="4906173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" name="Espace réservé du texte 29">
            <a:extLst>
              <a:ext uri="{FF2B5EF4-FFF2-40B4-BE49-F238E27FC236}">
                <a16:creationId xmlns:a16="http://schemas.microsoft.com/office/drawing/2014/main" id="{25056885-FA64-D09B-26FE-85CF4F679F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3610" y="1512000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4" name="Espace réservé du texte 29">
            <a:extLst>
              <a:ext uri="{FF2B5EF4-FFF2-40B4-BE49-F238E27FC236}">
                <a16:creationId xmlns:a16="http://schemas.microsoft.com/office/drawing/2014/main" id="{93778A39-AF25-ED00-5098-369F58C4D7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35350" y="3263201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2FC31E5C-B8D7-6A19-A642-3F6EA92819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610" y="3217599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1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1" name="Espace réservé du texte 29">
            <a:extLst>
              <a:ext uri="{FF2B5EF4-FFF2-40B4-BE49-F238E27FC236}">
                <a16:creationId xmlns:a16="http://schemas.microsoft.com/office/drawing/2014/main" id="{67179967-8610-1723-242E-1E4CD52846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35350" y="4917621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2" name="Espace réservé du texte 29">
            <a:extLst>
              <a:ext uri="{FF2B5EF4-FFF2-40B4-BE49-F238E27FC236}">
                <a16:creationId xmlns:a16="http://schemas.microsoft.com/office/drawing/2014/main" id="{049FF31D-572A-E6E6-F61A-D9F1DF02E8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45330" y="1520466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r" rtl="1">
              <a:defRPr sz="1200">
                <a:solidFill>
                  <a:srgbClr val="565F8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8D935484-1F87-FE61-7649-B4F2CD08FDB0}"/>
              </a:ext>
            </a:extLst>
          </p:cNvPr>
          <p:cNvGrpSpPr/>
          <p:nvPr userDrawn="1"/>
        </p:nvGrpSpPr>
        <p:grpSpPr>
          <a:xfrm>
            <a:off x="6876000" y="1394055"/>
            <a:ext cx="1787772" cy="288000"/>
            <a:chOff x="963273" y="2342097"/>
            <a:chExt cx="1787772" cy="288000"/>
          </a:xfrm>
        </p:grpSpPr>
        <p:pic>
          <p:nvPicPr>
            <p:cNvPr id="19" name="Image 18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E9EDA4B9-95AE-1161-6E2B-4D19D4913D4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F72566A-0A75-874C-8ADE-90A75565CC25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أول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10" name="Groupe 9">
            <a:extLst>
              <a:ext uri="{FF2B5EF4-FFF2-40B4-BE49-F238E27FC236}">
                <a16:creationId xmlns:a16="http://schemas.microsoft.com/office/drawing/2014/main" id="{713E2199-C99F-884B-645C-5436BB0FF3E9}"/>
              </a:ext>
            </a:extLst>
          </p:cNvPr>
          <p:cNvGrpSpPr/>
          <p:nvPr userDrawn="1"/>
        </p:nvGrpSpPr>
        <p:grpSpPr>
          <a:xfrm>
            <a:off x="2664000" y="3065330"/>
            <a:ext cx="1787772" cy="288000"/>
            <a:chOff x="963273" y="2342097"/>
            <a:chExt cx="1787772" cy="288000"/>
          </a:xfrm>
        </p:grpSpPr>
        <p:pic>
          <p:nvPicPr>
            <p:cNvPr id="11" name="Image 10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A9AAB978-56B5-DC6A-35FB-8F99900FAF3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A34902E-32B8-A2E2-6693-601E5A6EB349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رابع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7" name="Groupe 6">
            <a:extLst>
              <a:ext uri="{FF2B5EF4-FFF2-40B4-BE49-F238E27FC236}">
                <a16:creationId xmlns:a16="http://schemas.microsoft.com/office/drawing/2014/main" id="{5398ACC3-FEC4-B214-2200-53D5401C989B}"/>
              </a:ext>
            </a:extLst>
          </p:cNvPr>
          <p:cNvGrpSpPr/>
          <p:nvPr userDrawn="1"/>
        </p:nvGrpSpPr>
        <p:grpSpPr>
          <a:xfrm>
            <a:off x="2664000" y="1363386"/>
            <a:ext cx="1787772" cy="288000"/>
            <a:chOff x="963273" y="2342097"/>
            <a:chExt cx="1787772" cy="288000"/>
          </a:xfrm>
        </p:grpSpPr>
        <p:pic>
          <p:nvPicPr>
            <p:cNvPr id="5" name="Image 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C7970687-46CC-B631-3DE5-C4444E9279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FF24D4A-CD59-2671-37CD-FDF3D6E8C0F7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ثاني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22" name="Groupe 21">
            <a:extLst>
              <a:ext uri="{FF2B5EF4-FFF2-40B4-BE49-F238E27FC236}">
                <a16:creationId xmlns:a16="http://schemas.microsoft.com/office/drawing/2014/main" id="{A7FC7ADA-8971-A681-A7D3-3658BD7AFA5F}"/>
              </a:ext>
            </a:extLst>
          </p:cNvPr>
          <p:cNvGrpSpPr/>
          <p:nvPr userDrawn="1"/>
        </p:nvGrpSpPr>
        <p:grpSpPr>
          <a:xfrm>
            <a:off x="6876000" y="3060228"/>
            <a:ext cx="1787772" cy="288000"/>
            <a:chOff x="963273" y="2342097"/>
            <a:chExt cx="1787772" cy="288000"/>
          </a:xfrm>
        </p:grpSpPr>
        <p:pic>
          <p:nvPicPr>
            <p:cNvPr id="23" name="Image 22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A94CC92C-6185-84DD-6E63-7EB955D78AC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C6B3217-D89F-5435-B62C-FA55739EBBB3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ثالث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DCB39F1F-AB81-F657-221D-A52EDD8FF5FF}"/>
              </a:ext>
            </a:extLst>
          </p:cNvPr>
          <p:cNvGrpSpPr/>
          <p:nvPr userDrawn="1"/>
        </p:nvGrpSpPr>
        <p:grpSpPr>
          <a:xfrm>
            <a:off x="6876000" y="4762173"/>
            <a:ext cx="1787772" cy="288000"/>
            <a:chOff x="963273" y="2342097"/>
            <a:chExt cx="1787772" cy="288000"/>
          </a:xfrm>
        </p:grpSpPr>
        <p:pic>
          <p:nvPicPr>
            <p:cNvPr id="27" name="Image 26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5B73CD80-C8D2-C04E-0C96-2E3276C83D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84EF71E-D215-2C2E-EFAD-6763B5FFDF1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خامس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sp>
        <p:nvSpPr>
          <p:cNvPr id="29" name="Espace réservé du texte 29">
            <a:extLst>
              <a:ext uri="{FF2B5EF4-FFF2-40B4-BE49-F238E27FC236}">
                <a16:creationId xmlns:a16="http://schemas.microsoft.com/office/drawing/2014/main" id="{40ABE254-A8C6-779E-D670-312AF958BE4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68130" y="4919544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11FB446D-CEA1-F233-DA4B-E45ACEF1DEFB}"/>
              </a:ext>
            </a:extLst>
          </p:cNvPr>
          <p:cNvGrpSpPr/>
          <p:nvPr userDrawn="1"/>
        </p:nvGrpSpPr>
        <p:grpSpPr>
          <a:xfrm>
            <a:off x="2664000" y="4767275"/>
            <a:ext cx="1787772" cy="288000"/>
            <a:chOff x="963273" y="2342097"/>
            <a:chExt cx="1787772" cy="288000"/>
          </a:xfrm>
        </p:grpSpPr>
        <p:pic>
          <p:nvPicPr>
            <p:cNvPr id="15" name="Image 1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6A55D38E-F252-69A6-1FCB-40A292CC10E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C2391DB-0FC3-D897-F5BF-96B792A51AC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سادس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5985897"/>
      </p:ext>
    </p:extLst>
  </p:cSld>
  <p:clrMapOvr>
    <a:masterClrMapping/>
  </p:clrMapOvr>
  <p:transition spd="slow"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E361C932-B43D-F861-8BEC-34052DDDEAB6}"/>
              </a:ext>
            </a:extLst>
          </p:cNvPr>
          <p:cNvSpPr/>
          <p:nvPr userDrawn="1"/>
        </p:nvSpPr>
        <p:spPr>
          <a:xfrm>
            <a:off x="543610" y="1507386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id="{598AFD82-84B7-B929-78D2-789C3F8CCBA9}"/>
              </a:ext>
            </a:extLst>
          </p:cNvPr>
          <p:cNvSpPr txBox="1">
            <a:spLocks/>
          </p:cNvSpPr>
          <p:nvPr userDrawn="1"/>
        </p:nvSpPr>
        <p:spPr>
          <a:xfrm>
            <a:off x="543610" y="828156"/>
            <a:ext cx="7886700" cy="523782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565F8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تنظيم حصص الأسبوع التربوي الأول</a:t>
            </a:r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E152EB3D-3F01-995A-D8AD-C9F66F45A737}"/>
              </a:ext>
            </a:extLst>
          </p:cNvPr>
          <p:cNvSpPr/>
          <p:nvPr userDrawn="1"/>
        </p:nvSpPr>
        <p:spPr>
          <a:xfrm>
            <a:off x="543610" y="3209330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id="{F333A3CC-6303-7D66-3B34-BBDE13D56C0B}"/>
              </a:ext>
            </a:extLst>
          </p:cNvPr>
          <p:cNvSpPr/>
          <p:nvPr userDrawn="1"/>
        </p:nvSpPr>
        <p:spPr>
          <a:xfrm>
            <a:off x="543610" y="4911275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4F4026A5-FF1B-E446-E9A7-AF0055EFE932}"/>
              </a:ext>
            </a:extLst>
          </p:cNvPr>
          <p:cNvSpPr/>
          <p:nvPr userDrawn="1"/>
        </p:nvSpPr>
        <p:spPr>
          <a:xfrm>
            <a:off x="4735350" y="1502284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1" name="Rectangle : coins arrondis 20">
            <a:extLst>
              <a:ext uri="{FF2B5EF4-FFF2-40B4-BE49-F238E27FC236}">
                <a16:creationId xmlns:a16="http://schemas.microsoft.com/office/drawing/2014/main" id="{383E4ED1-F046-0607-36DC-67B4321F12F9}"/>
              </a:ext>
            </a:extLst>
          </p:cNvPr>
          <p:cNvSpPr/>
          <p:nvPr userDrawn="1"/>
        </p:nvSpPr>
        <p:spPr>
          <a:xfrm>
            <a:off x="543610" y="4911275"/>
            <a:ext cx="3780000" cy="1440000"/>
          </a:xfrm>
          <a:prstGeom prst="roundRect">
            <a:avLst>
              <a:gd name="adj" fmla="val 8586"/>
            </a:avLst>
          </a:prstGeom>
          <a:solidFill>
            <a:srgbClr val="D5F4F6"/>
          </a:solidFill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5" name="Rectangle : coins arrondis 24">
            <a:extLst>
              <a:ext uri="{FF2B5EF4-FFF2-40B4-BE49-F238E27FC236}">
                <a16:creationId xmlns:a16="http://schemas.microsoft.com/office/drawing/2014/main" id="{61F8FDD8-3482-4B53-B6D1-4855B1478A92}"/>
              </a:ext>
            </a:extLst>
          </p:cNvPr>
          <p:cNvSpPr/>
          <p:nvPr userDrawn="1"/>
        </p:nvSpPr>
        <p:spPr>
          <a:xfrm>
            <a:off x="4735350" y="4906173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" name="Espace réservé du texte 29">
            <a:extLst>
              <a:ext uri="{FF2B5EF4-FFF2-40B4-BE49-F238E27FC236}">
                <a16:creationId xmlns:a16="http://schemas.microsoft.com/office/drawing/2014/main" id="{25056885-FA64-D09B-26FE-85CF4F679F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3610" y="1512000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4" name="Espace réservé du texte 29">
            <a:extLst>
              <a:ext uri="{FF2B5EF4-FFF2-40B4-BE49-F238E27FC236}">
                <a16:creationId xmlns:a16="http://schemas.microsoft.com/office/drawing/2014/main" id="{93778A39-AF25-ED00-5098-369F58C4D7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35350" y="3263201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2FC31E5C-B8D7-6A19-A642-3F6EA92819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610" y="4916496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1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1" name="Espace réservé du texte 29">
            <a:extLst>
              <a:ext uri="{FF2B5EF4-FFF2-40B4-BE49-F238E27FC236}">
                <a16:creationId xmlns:a16="http://schemas.microsoft.com/office/drawing/2014/main" id="{67179967-8610-1723-242E-1E4CD52846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45330" y="4916496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2" name="Espace réservé du texte 29">
            <a:extLst>
              <a:ext uri="{FF2B5EF4-FFF2-40B4-BE49-F238E27FC236}">
                <a16:creationId xmlns:a16="http://schemas.microsoft.com/office/drawing/2014/main" id="{049FF31D-572A-E6E6-F61A-D9F1DF02E8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45330" y="1520466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r" rtl="1">
              <a:defRPr sz="1200">
                <a:solidFill>
                  <a:srgbClr val="565F8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8D935484-1F87-FE61-7649-B4F2CD08FDB0}"/>
              </a:ext>
            </a:extLst>
          </p:cNvPr>
          <p:cNvGrpSpPr/>
          <p:nvPr userDrawn="1"/>
        </p:nvGrpSpPr>
        <p:grpSpPr>
          <a:xfrm>
            <a:off x="6876000" y="1394055"/>
            <a:ext cx="1787772" cy="288000"/>
            <a:chOff x="963273" y="2342097"/>
            <a:chExt cx="1787772" cy="288000"/>
          </a:xfrm>
        </p:grpSpPr>
        <p:pic>
          <p:nvPicPr>
            <p:cNvPr id="19" name="Image 18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E9EDA4B9-95AE-1161-6E2B-4D19D4913D4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F72566A-0A75-874C-8ADE-90A75565CC25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أول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22" name="Groupe 21">
            <a:extLst>
              <a:ext uri="{FF2B5EF4-FFF2-40B4-BE49-F238E27FC236}">
                <a16:creationId xmlns:a16="http://schemas.microsoft.com/office/drawing/2014/main" id="{A7FC7ADA-8971-A681-A7D3-3658BD7AFA5F}"/>
              </a:ext>
            </a:extLst>
          </p:cNvPr>
          <p:cNvGrpSpPr/>
          <p:nvPr userDrawn="1"/>
        </p:nvGrpSpPr>
        <p:grpSpPr>
          <a:xfrm>
            <a:off x="6876000" y="3060228"/>
            <a:ext cx="1787772" cy="288000"/>
            <a:chOff x="963273" y="2342097"/>
            <a:chExt cx="1787772" cy="288000"/>
          </a:xfrm>
        </p:grpSpPr>
        <p:pic>
          <p:nvPicPr>
            <p:cNvPr id="23" name="Image 22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A94CC92C-6185-84DD-6E63-7EB955D78AC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C6B3217-D89F-5435-B62C-FA55739EBBB3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ثالث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sp>
        <p:nvSpPr>
          <p:cNvPr id="29" name="Espace réservé du texte 29">
            <a:extLst>
              <a:ext uri="{FF2B5EF4-FFF2-40B4-BE49-F238E27FC236}">
                <a16:creationId xmlns:a16="http://schemas.microsoft.com/office/drawing/2014/main" id="{40ABE254-A8C6-779E-D670-312AF958BE4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3610" y="3196303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713E2199-C99F-884B-645C-5436BB0FF3E9}"/>
              </a:ext>
            </a:extLst>
          </p:cNvPr>
          <p:cNvGrpSpPr/>
          <p:nvPr userDrawn="1"/>
        </p:nvGrpSpPr>
        <p:grpSpPr>
          <a:xfrm>
            <a:off x="2664000" y="3065330"/>
            <a:ext cx="1787772" cy="288000"/>
            <a:chOff x="963273" y="2342097"/>
            <a:chExt cx="1787772" cy="288000"/>
          </a:xfrm>
        </p:grpSpPr>
        <p:pic>
          <p:nvPicPr>
            <p:cNvPr id="11" name="Image 10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A9AAB978-56B5-DC6A-35FB-8F99900FAF3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A34902E-32B8-A2E2-6693-601E5A6EB349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رابع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7" name="Groupe 6">
            <a:extLst>
              <a:ext uri="{FF2B5EF4-FFF2-40B4-BE49-F238E27FC236}">
                <a16:creationId xmlns:a16="http://schemas.microsoft.com/office/drawing/2014/main" id="{5398ACC3-FEC4-B214-2200-53D5401C989B}"/>
              </a:ext>
            </a:extLst>
          </p:cNvPr>
          <p:cNvGrpSpPr/>
          <p:nvPr userDrawn="1"/>
        </p:nvGrpSpPr>
        <p:grpSpPr>
          <a:xfrm>
            <a:off x="2664000" y="1363386"/>
            <a:ext cx="1787772" cy="288000"/>
            <a:chOff x="963273" y="2342097"/>
            <a:chExt cx="1787772" cy="288000"/>
          </a:xfrm>
        </p:grpSpPr>
        <p:pic>
          <p:nvPicPr>
            <p:cNvPr id="5" name="Image 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C7970687-46CC-B631-3DE5-C4444E9279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FF24D4A-CD59-2671-37CD-FDF3D6E8C0F7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ثاني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DCB39F1F-AB81-F657-221D-A52EDD8FF5FF}"/>
              </a:ext>
            </a:extLst>
          </p:cNvPr>
          <p:cNvGrpSpPr/>
          <p:nvPr userDrawn="1"/>
        </p:nvGrpSpPr>
        <p:grpSpPr>
          <a:xfrm>
            <a:off x="6876000" y="4762173"/>
            <a:ext cx="1787772" cy="288000"/>
            <a:chOff x="963273" y="2342097"/>
            <a:chExt cx="1787772" cy="288000"/>
          </a:xfrm>
        </p:grpSpPr>
        <p:pic>
          <p:nvPicPr>
            <p:cNvPr id="27" name="Image 26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5B73CD80-C8D2-C04E-0C96-2E3276C83D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84EF71E-D215-2C2E-EFAD-6763B5FFDF1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خامس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11FB446D-CEA1-F233-DA4B-E45ACEF1DEFB}"/>
              </a:ext>
            </a:extLst>
          </p:cNvPr>
          <p:cNvGrpSpPr/>
          <p:nvPr userDrawn="1"/>
        </p:nvGrpSpPr>
        <p:grpSpPr>
          <a:xfrm>
            <a:off x="2664000" y="4767275"/>
            <a:ext cx="1787772" cy="288000"/>
            <a:chOff x="963273" y="2342097"/>
            <a:chExt cx="1787772" cy="288000"/>
          </a:xfrm>
        </p:grpSpPr>
        <p:pic>
          <p:nvPicPr>
            <p:cNvPr id="15" name="Image 1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6A55D38E-F252-69A6-1FCB-40A292CC10E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C2391DB-0FC3-D897-F5BF-96B792A51AC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السادس </a:t>
              </a:r>
              <a:endParaRPr kumimoji="0" lang="fr-MA" sz="1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93193394"/>
      </p:ext>
    </p:extLst>
  </p:cSld>
  <p:clrMapOvr>
    <a:masterClrMapping/>
  </p:clrMapOvr>
  <p:transition spd="slow"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E361C932-B43D-F861-8BEC-34052DDDEAB6}"/>
              </a:ext>
            </a:extLst>
          </p:cNvPr>
          <p:cNvSpPr/>
          <p:nvPr userDrawn="1"/>
        </p:nvSpPr>
        <p:spPr>
          <a:xfrm>
            <a:off x="543610" y="1507386"/>
            <a:ext cx="3780000" cy="1440000"/>
          </a:xfrm>
          <a:prstGeom prst="roundRect">
            <a:avLst>
              <a:gd name="adj" fmla="val 8586"/>
            </a:avLst>
          </a:prstGeom>
          <a:solidFill>
            <a:srgbClr val="D5F4F6"/>
          </a:solidFill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id="{598AFD82-84B7-B929-78D2-789C3F8CCBA9}"/>
              </a:ext>
            </a:extLst>
          </p:cNvPr>
          <p:cNvSpPr txBox="1">
            <a:spLocks/>
          </p:cNvSpPr>
          <p:nvPr userDrawn="1"/>
        </p:nvSpPr>
        <p:spPr>
          <a:xfrm>
            <a:off x="628650" y="834502"/>
            <a:ext cx="7886700" cy="523782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565F8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Modifiez le style du titre</a:t>
            </a:r>
            <a:endParaRPr kumimoji="0" lang="fr-MA" sz="28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ea typeface="+mj-ea"/>
              <a:cs typeface="Microsoft Uighur" panose="02000000000000000000" pitchFamily="2" charset="-78"/>
            </a:endParaRP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5398ACC3-FEC4-B214-2200-53D5401C989B}"/>
              </a:ext>
            </a:extLst>
          </p:cNvPr>
          <p:cNvGrpSpPr/>
          <p:nvPr userDrawn="1"/>
        </p:nvGrpSpPr>
        <p:grpSpPr>
          <a:xfrm>
            <a:off x="2664000" y="1363386"/>
            <a:ext cx="1787772" cy="288000"/>
            <a:chOff x="963273" y="2342097"/>
            <a:chExt cx="1787772" cy="288000"/>
          </a:xfrm>
        </p:grpSpPr>
        <p:pic>
          <p:nvPicPr>
            <p:cNvPr id="5" name="Image 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C7970687-46CC-B631-3DE5-C4444E9279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FF24D4A-CD59-2671-37CD-FDF3D6E8C0F7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1</a:t>
              </a:r>
            </a:p>
          </p:txBody>
        </p:sp>
      </p:grp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E152EB3D-3F01-995A-D8AD-C9F66F45A737}"/>
              </a:ext>
            </a:extLst>
          </p:cNvPr>
          <p:cNvSpPr/>
          <p:nvPr userDrawn="1"/>
        </p:nvSpPr>
        <p:spPr>
          <a:xfrm>
            <a:off x="543610" y="3209330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713E2199-C99F-884B-645C-5436BB0FF3E9}"/>
              </a:ext>
            </a:extLst>
          </p:cNvPr>
          <p:cNvGrpSpPr/>
          <p:nvPr userDrawn="1"/>
        </p:nvGrpSpPr>
        <p:grpSpPr>
          <a:xfrm>
            <a:off x="2664000" y="3065330"/>
            <a:ext cx="1787772" cy="288000"/>
            <a:chOff x="963273" y="2342097"/>
            <a:chExt cx="1787772" cy="288000"/>
          </a:xfrm>
        </p:grpSpPr>
        <p:pic>
          <p:nvPicPr>
            <p:cNvPr id="11" name="Image 10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A9AAB978-56B5-DC6A-35FB-8F99900FAF3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A34902E-32B8-A2E2-6693-601E5A6EB349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2</a:t>
              </a:r>
            </a:p>
          </p:txBody>
        </p:sp>
      </p:grp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id="{F333A3CC-6303-7D66-3B34-BBDE13D56C0B}"/>
              </a:ext>
            </a:extLst>
          </p:cNvPr>
          <p:cNvSpPr/>
          <p:nvPr userDrawn="1"/>
        </p:nvSpPr>
        <p:spPr>
          <a:xfrm>
            <a:off x="543610" y="4911275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11FB446D-CEA1-F233-DA4B-E45ACEF1DEFB}"/>
              </a:ext>
            </a:extLst>
          </p:cNvPr>
          <p:cNvGrpSpPr/>
          <p:nvPr userDrawn="1"/>
        </p:nvGrpSpPr>
        <p:grpSpPr>
          <a:xfrm>
            <a:off x="2664000" y="4767275"/>
            <a:ext cx="1787772" cy="288000"/>
            <a:chOff x="963273" y="2342097"/>
            <a:chExt cx="1787772" cy="288000"/>
          </a:xfrm>
        </p:grpSpPr>
        <p:pic>
          <p:nvPicPr>
            <p:cNvPr id="15" name="Image 1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6A55D38E-F252-69A6-1FCB-40A292CC10E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C2391DB-0FC3-D897-F5BF-96B792A51AC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3</a:t>
              </a:r>
            </a:p>
          </p:txBody>
        </p:sp>
      </p:grp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4F4026A5-FF1B-E446-E9A7-AF0055EFE932}"/>
              </a:ext>
            </a:extLst>
          </p:cNvPr>
          <p:cNvSpPr/>
          <p:nvPr userDrawn="1"/>
        </p:nvSpPr>
        <p:spPr>
          <a:xfrm>
            <a:off x="4735350" y="1502284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8D935484-1F87-FE61-7649-B4F2CD08FDB0}"/>
              </a:ext>
            </a:extLst>
          </p:cNvPr>
          <p:cNvGrpSpPr/>
          <p:nvPr userDrawn="1"/>
        </p:nvGrpSpPr>
        <p:grpSpPr>
          <a:xfrm>
            <a:off x="6876000" y="1358284"/>
            <a:ext cx="1787772" cy="288000"/>
            <a:chOff x="963273" y="2342097"/>
            <a:chExt cx="1787772" cy="288000"/>
          </a:xfrm>
        </p:grpSpPr>
        <p:pic>
          <p:nvPicPr>
            <p:cNvPr id="19" name="Image 18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E9EDA4B9-95AE-1161-6E2B-4D19D4913D4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F72566A-0A75-874C-8ADE-90A75565CC25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4</a:t>
              </a:r>
            </a:p>
          </p:txBody>
        </p:sp>
      </p:grpSp>
      <p:sp>
        <p:nvSpPr>
          <p:cNvPr id="21" name="Rectangle : coins arrondis 20">
            <a:extLst>
              <a:ext uri="{FF2B5EF4-FFF2-40B4-BE49-F238E27FC236}">
                <a16:creationId xmlns:a16="http://schemas.microsoft.com/office/drawing/2014/main" id="{383E4ED1-F046-0607-36DC-67B4321F12F9}"/>
              </a:ext>
            </a:extLst>
          </p:cNvPr>
          <p:cNvSpPr/>
          <p:nvPr userDrawn="1"/>
        </p:nvSpPr>
        <p:spPr>
          <a:xfrm>
            <a:off x="4735350" y="3204228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22" name="Groupe 21">
            <a:extLst>
              <a:ext uri="{FF2B5EF4-FFF2-40B4-BE49-F238E27FC236}">
                <a16:creationId xmlns:a16="http://schemas.microsoft.com/office/drawing/2014/main" id="{A7FC7ADA-8971-A681-A7D3-3658BD7AFA5F}"/>
              </a:ext>
            </a:extLst>
          </p:cNvPr>
          <p:cNvGrpSpPr/>
          <p:nvPr userDrawn="1"/>
        </p:nvGrpSpPr>
        <p:grpSpPr>
          <a:xfrm>
            <a:off x="6876000" y="3060228"/>
            <a:ext cx="1787772" cy="288000"/>
            <a:chOff x="963273" y="2342097"/>
            <a:chExt cx="1787772" cy="288000"/>
          </a:xfrm>
        </p:grpSpPr>
        <p:pic>
          <p:nvPicPr>
            <p:cNvPr id="23" name="Image 22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A94CC92C-6185-84DD-6E63-7EB955D78AC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C6B3217-D89F-5435-B62C-FA55739EBBB3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5</a:t>
              </a:r>
            </a:p>
          </p:txBody>
        </p:sp>
      </p:grpSp>
      <p:sp>
        <p:nvSpPr>
          <p:cNvPr id="25" name="Rectangle : coins arrondis 24">
            <a:extLst>
              <a:ext uri="{FF2B5EF4-FFF2-40B4-BE49-F238E27FC236}">
                <a16:creationId xmlns:a16="http://schemas.microsoft.com/office/drawing/2014/main" id="{61F8FDD8-3482-4B53-B6D1-4855B1478A92}"/>
              </a:ext>
            </a:extLst>
          </p:cNvPr>
          <p:cNvSpPr/>
          <p:nvPr userDrawn="1"/>
        </p:nvSpPr>
        <p:spPr>
          <a:xfrm>
            <a:off x="4735350" y="4906173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DCB39F1F-AB81-F657-221D-A52EDD8FF5FF}"/>
              </a:ext>
            </a:extLst>
          </p:cNvPr>
          <p:cNvGrpSpPr/>
          <p:nvPr userDrawn="1"/>
        </p:nvGrpSpPr>
        <p:grpSpPr>
          <a:xfrm>
            <a:off x="6876000" y="4762173"/>
            <a:ext cx="1787772" cy="288000"/>
            <a:chOff x="963273" y="2342097"/>
            <a:chExt cx="1787772" cy="288000"/>
          </a:xfrm>
        </p:grpSpPr>
        <p:pic>
          <p:nvPicPr>
            <p:cNvPr id="27" name="Image 26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5B73CD80-C8D2-C04E-0C96-2E3276C83D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84EF71E-D215-2C2E-EFAD-6763B5FFDF1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6</a:t>
              </a:r>
            </a:p>
          </p:txBody>
        </p:sp>
      </p:grp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A34270BF-566C-8548-6695-5672B306BB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0000" y="1512000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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1" name="Espace réservé du texte 29">
            <a:extLst>
              <a:ext uri="{FF2B5EF4-FFF2-40B4-BE49-F238E27FC236}">
                <a16:creationId xmlns:a16="http://schemas.microsoft.com/office/drawing/2014/main" id="{8F8C17C2-62D1-261B-0BE2-6F7839D218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0000" y="3209330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2" name="Espace réservé du texte 29">
            <a:extLst>
              <a:ext uri="{FF2B5EF4-FFF2-40B4-BE49-F238E27FC236}">
                <a16:creationId xmlns:a16="http://schemas.microsoft.com/office/drawing/2014/main" id="{1596194A-BC5F-19D0-0F1C-F6CFBDF3FFF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0000" y="4911275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3" name="Espace réservé du texte 29">
            <a:extLst>
              <a:ext uri="{FF2B5EF4-FFF2-40B4-BE49-F238E27FC236}">
                <a16:creationId xmlns:a16="http://schemas.microsoft.com/office/drawing/2014/main" id="{34C5ECAB-EDC5-9A06-999D-04F572C3387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35350" y="3204228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4" name="Espace réservé du texte 29">
            <a:extLst>
              <a:ext uri="{FF2B5EF4-FFF2-40B4-BE49-F238E27FC236}">
                <a16:creationId xmlns:a16="http://schemas.microsoft.com/office/drawing/2014/main" id="{99EB5DB0-28F2-A2FD-2E29-86534A50C8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35350" y="4906173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5" name="Espace réservé du texte 29">
            <a:extLst>
              <a:ext uri="{FF2B5EF4-FFF2-40B4-BE49-F238E27FC236}">
                <a16:creationId xmlns:a16="http://schemas.microsoft.com/office/drawing/2014/main" id="{0B82F83A-7D6E-997A-6DFD-98486DA5B40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35350" y="1502284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378007227"/>
      </p:ext>
    </p:extLst>
  </p:cSld>
  <p:clrMapOvr>
    <a:masterClrMapping/>
  </p:clrMapOvr>
  <p:transition spd="slow"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E361C932-B43D-F861-8BEC-34052DDDEAB6}"/>
              </a:ext>
            </a:extLst>
          </p:cNvPr>
          <p:cNvSpPr/>
          <p:nvPr userDrawn="1"/>
        </p:nvSpPr>
        <p:spPr>
          <a:xfrm>
            <a:off x="543610" y="1507386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id="{598AFD82-84B7-B929-78D2-789C3F8CCBA9}"/>
              </a:ext>
            </a:extLst>
          </p:cNvPr>
          <p:cNvSpPr txBox="1">
            <a:spLocks/>
          </p:cNvSpPr>
          <p:nvPr userDrawn="1"/>
        </p:nvSpPr>
        <p:spPr>
          <a:xfrm>
            <a:off x="628650" y="834502"/>
            <a:ext cx="7886700" cy="523782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565F8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Modifiez le style du titre</a:t>
            </a:r>
            <a:endParaRPr kumimoji="0" lang="fr-MA" sz="28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ea typeface="+mj-ea"/>
              <a:cs typeface="Microsoft Uighur" panose="02000000000000000000" pitchFamily="2" charset="-78"/>
            </a:endParaRP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5398ACC3-FEC4-B214-2200-53D5401C989B}"/>
              </a:ext>
            </a:extLst>
          </p:cNvPr>
          <p:cNvGrpSpPr/>
          <p:nvPr userDrawn="1"/>
        </p:nvGrpSpPr>
        <p:grpSpPr>
          <a:xfrm>
            <a:off x="2664000" y="1363386"/>
            <a:ext cx="1787772" cy="288000"/>
            <a:chOff x="963273" y="2342097"/>
            <a:chExt cx="1787772" cy="288000"/>
          </a:xfrm>
        </p:grpSpPr>
        <p:pic>
          <p:nvPicPr>
            <p:cNvPr id="5" name="Image 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C7970687-46CC-B631-3DE5-C4444E9279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FF24D4A-CD59-2671-37CD-FDF3D6E8C0F7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1</a:t>
              </a:r>
            </a:p>
          </p:txBody>
        </p:sp>
      </p:grp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E152EB3D-3F01-995A-D8AD-C9F66F45A737}"/>
              </a:ext>
            </a:extLst>
          </p:cNvPr>
          <p:cNvSpPr/>
          <p:nvPr userDrawn="1"/>
        </p:nvSpPr>
        <p:spPr>
          <a:xfrm>
            <a:off x="543610" y="3209330"/>
            <a:ext cx="3780000" cy="1440000"/>
          </a:xfrm>
          <a:prstGeom prst="roundRect">
            <a:avLst>
              <a:gd name="adj" fmla="val 8586"/>
            </a:avLst>
          </a:prstGeom>
          <a:solidFill>
            <a:srgbClr val="D5F4F6"/>
          </a:solidFill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713E2199-C99F-884B-645C-5436BB0FF3E9}"/>
              </a:ext>
            </a:extLst>
          </p:cNvPr>
          <p:cNvGrpSpPr/>
          <p:nvPr userDrawn="1"/>
        </p:nvGrpSpPr>
        <p:grpSpPr>
          <a:xfrm>
            <a:off x="2664000" y="3065330"/>
            <a:ext cx="1787772" cy="288000"/>
            <a:chOff x="963273" y="2342097"/>
            <a:chExt cx="1787772" cy="288000"/>
          </a:xfrm>
        </p:grpSpPr>
        <p:pic>
          <p:nvPicPr>
            <p:cNvPr id="11" name="Image 10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A9AAB978-56B5-DC6A-35FB-8F99900FAF3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A34902E-32B8-A2E2-6693-601E5A6EB349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2</a:t>
              </a:r>
            </a:p>
          </p:txBody>
        </p:sp>
      </p:grp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id="{F333A3CC-6303-7D66-3B34-BBDE13D56C0B}"/>
              </a:ext>
            </a:extLst>
          </p:cNvPr>
          <p:cNvSpPr/>
          <p:nvPr userDrawn="1"/>
        </p:nvSpPr>
        <p:spPr>
          <a:xfrm>
            <a:off x="543610" y="4911275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11FB446D-CEA1-F233-DA4B-E45ACEF1DEFB}"/>
              </a:ext>
            </a:extLst>
          </p:cNvPr>
          <p:cNvGrpSpPr/>
          <p:nvPr userDrawn="1"/>
        </p:nvGrpSpPr>
        <p:grpSpPr>
          <a:xfrm>
            <a:off x="2664000" y="4767275"/>
            <a:ext cx="1787772" cy="288000"/>
            <a:chOff x="963273" y="2342097"/>
            <a:chExt cx="1787772" cy="288000"/>
          </a:xfrm>
        </p:grpSpPr>
        <p:pic>
          <p:nvPicPr>
            <p:cNvPr id="15" name="Image 1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6A55D38E-F252-69A6-1FCB-40A292CC10E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C2391DB-0FC3-D897-F5BF-96B792A51AC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3</a:t>
              </a:r>
            </a:p>
          </p:txBody>
        </p:sp>
      </p:grp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4F4026A5-FF1B-E446-E9A7-AF0055EFE932}"/>
              </a:ext>
            </a:extLst>
          </p:cNvPr>
          <p:cNvSpPr/>
          <p:nvPr userDrawn="1"/>
        </p:nvSpPr>
        <p:spPr>
          <a:xfrm>
            <a:off x="4735350" y="1502284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8D935484-1F87-FE61-7649-B4F2CD08FDB0}"/>
              </a:ext>
            </a:extLst>
          </p:cNvPr>
          <p:cNvGrpSpPr/>
          <p:nvPr userDrawn="1"/>
        </p:nvGrpSpPr>
        <p:grpSpPr>
          <a:xfrm>
            <a:off x="6876000" y="1358284"/>
            <a:ext cx="1787772" cy="288000"/>
            <a:chOff x="963273" y="2342097"/>
            <a:chExt cx="1787772" cy="288000"/>
          </a:xfrm>
        </p:grpSpPr>
        <p:pic>
          <p:nvPicPr>
            <p:cNvPr id="19" name="Image 18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E9EDA4B9-95AE-1161-6E2B-4D19D4913D4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F72566A-0A75-874C-8ADE-90A75565CC25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4</a:t>
              </a:r>
            </a:p>
          </p:txBody>
        </p:sp>
      </p:grpSp>
      <p:sp>
        <p:nvSpPr>
          <p:cNvPr id="21" name="Rectangle : coins arrondis 20">
            <a:extLst>
              <a:ext uri="{FF2B5EF4-FFF2-40B4-BE49-F238E27FC236}">
                <a16:creationId xmlns:a16="http://schemas.microsoft.com/office/drawing/2014/main" id="{383E4ED1-F046-0607-36DC-67B4321F12F9}"/>
              </a:ext>
            </a:extLst>
          </p:cNvPr>
          <p:cNvSpPr/>
          <p:nvPr userDrawn="1"/>
        </p:nvSpPr>
        <p:spPr>
          <a:xfrm>
            <a:off x="4735350" y="3204228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22" name="Groupe 21">
            <a:extLst>
              <a:ext uri="{FF2B5EF4-FFF2-40B4-BE49-F238E27FC236}">
                <a16:creationId xmlns:a16="http://schemas.microsoft.com/office/drawing/2014/main" id="{A7FC7ADA-8971-A681-A7D3-3658BD7AFA5F}"/>
              </a:ext>
            </a:extLst>
          </p:cNvPr>
          <p:cNvGrpSpPr/>
          <p:nvPr userDrawn="1"/>
        </p:nvGrpSpPr>
        <p:grpSpPr>
          <a:xfrm>
            <a:off x="6876000" y="3060228"/>
            <a:ext cx="1787772" cy="288000"/>
            <a:chOff x="963273" y="2342097"/>
            <a:chExt cx="1787772" cy="288000"/>
          </a:xfrm>
        </p:grpSpPr>
        <p:pic>
          <p:nvPicPr>
            <p:cNvPr id="23" name="Image 22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A94CC92C-6185-84DD-6E63-7EB955D78AC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C6B3217-D89F-5435-B62C-FA55739EBBB3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5</a:t>
              </a:r>
            </a:p>
          </p:txBody>
        </p:sp>
      </p:grpSp>
      <p:sp>
        <p:nvSpPr>
          <p:cNvPr id="25" name="Rectangle : coins arrondis 24">
            <a:extLst>
              <a:ext uri="{FF2B5EF4-FFF2-40B4-BE49-F238E27FC236}">
                <a16:creationId xmlns:a16="http://schemas.microsoft.com/office/drawing/2014/main" id="{61F8FDD8-3482-4B53-B6D1-4855B1478A92}"/>
              </a:ext>
            </a:extLst>
          </p:cNvPr>
          <p:cNvSpPr/>
          <p:nvPr userDrawn="1"/>
        </p:nvSpPr>
        <p:spPr>
          <a:xfrm>
            <a:off x="4735350" y="4906173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DCB39F1F-AB81-F657-221D-A52EDD8FF5FF}"/>
              </a:ext>
            </a:extLst>
          </p:cNvPr>
          <p:cNvGrpSpPr/>
          <p:nvPr userDrawn="1"/>
        </p:nvGrpSpPr>
        <p:grpSpPr>
          <a:xfrm>
            <a:off x="6876000" y="4762173"/>
            <a:ext cx="1787772" cy="288000"/>
            <a:chOff x="963273" y="2342097"/>
            <a:chExt cx="1787772" cy="288000"/>
          </a:xfrm>
        </p:grpSpPr>
        <p:pic>
          <p:nvPicPr>
            <p:cNvPr id="27" name="Image 26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5B73CD80-C8D2-C04E-0C96-2E3276C83D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84EF71E-D215-2C2E-EFAD-6763B5FFDF1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6</a:t>
              </a:r>
            </a:p>
          </p:txBody>
        </p:sp>
      </p:grpSp>
      <p:sp>
        <p:nvSpPr>
          <p:cNvPr id="2" name="Espace réservé du texte 29">
            <a:extLst>
              <a:ext uri="{FF2B5EF4-FFF2-40B4-BE49-F238E27FC236}">
                <a16:creationId xmlns:a16="http://schemas.microsoft.com/office/drawing/2014/main" id="{B3E04AEF-3D7B-CC0B-3E3B-A996165D646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0000" y="1512000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4" name="Espace réservé du texte 29">
            <a:extLst>
              <a:ext uri="{FF2B5EF4-FFF2-40B4-BE49-F238E27FC236}">
                <a16:creationId xmlns:a16="http://schemas.microsoft.com/office/drawing/2014/main" id="{28580070-8848-A3B0-7630-F76B09ACF70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0000" y="3209330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1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29" name="Espace réservé du texte 29">
            <a:extLst>
              <a:ext uri="{FF2B5EF4-FFF2-40B4-BE49-F238E27FC236}">
                <a16:creationId xmlns:a16="http://schemas.microsoft.com/office/drawing/2014/main" id="{C4EAC4BD-29C1-3422-DCEA-C45FE014EB7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0000" y="4911275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74D66651-4E8C-0C81-2EBA-9F6CD1A3F6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35350" y="3204228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1" name="Espace réservé du texte 29">
            <a:extLst>
              <a:ext uri="{FF2B5EF4-FFF2-40B4-BE49-F238E27FC236}">
                <a16:creationId xmlns:a16="http://schemas.microsoft.com/office/drawing/2014/main" id="{8126728D-C7ED-6A6E-E6ED-BBFAD53EF98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35350" y="4906173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2" name="Espace réservé du texte 29">
            <a:extLst>
              <a:ext uri="{FF2B5EF4-FFF2-40B4-BE49-F238E27FC236}">
                <a16:creationId xmlns:a16="http://schemas.microsoft.com/office/drawing/2014/main" id="{28E6E001-28B8-A0DE-47D1-643F130017C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35350" y="1502284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839595563"/>
      </p:ext>
    </p:extLst>
  </p:cSld>
  <p:clrMapOvr>
    <a:masterClrMapping/>
  </p:clrMapOvr>
  <p:transition spd="slow"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E361C932-B43D-F861-8BEC-34052DDDEAB6}"/>
              </a:ext>
            </a:extLst>
          </p:cNvPr>
          <p:cNvSpPr/>
          <p:nvPr userDrawn="1"/>
        </p:nvSpPr>
        <p:spPr>
          <a:xfrm>
            <a:off x="543610" y="1507386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id="{598AFD82-84B7-B929-78D2-789C3F8CCBA9}"/>
              </a:ext>
            </a:extLst>
          </p:cNvPr>
          <p:cNvSpPr txBox="1">
            <a:spLocks/>
          </p:cNvSpPr>
          <p:nvPr userDrawn="1"/>
        </p:nvSpPr>
        <p:spPr>
          <a:xfrm>
            <a:off x="628650" y="834502"/>
            <a:ext cx="7886700" cy="523782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565F8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Modifiez le style du titre</a:t>
            </a:r>
            <a:endParaRPr kumimoji="0" lang="fr-MA" sz="28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ea typeface="+mj-ea"/>
              <a:cs typeface="Microsoft Uighur" panose="02000000000000000000" pitchFamily="2" charset="-78"/>
            </a:endParaRP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5398ACC3-FEC4-B214-2200-53D5401C989B}"/>
              </a:ext>
            </a:extLst>
          </p:cNvPr>
          <p:cNvGrpSpPr/>
          <p:nvPr userDrawn="1"/>
        </p:nvGrpSpPr>
        <p:grpSpPr>
          <a:xfrm>
            <a:off x="2664000" y="1363386"/>
            <a:ext cx="1787772" cy="288000"/>
            <a:chOff x="963273" y="2342097"/>
            <a:chExt cx="1787772" cy="288000"/>
          </a:xfrm>
        </p:grpSpPr>
        <p:pic>
          <p:nvPicPr>
            <p:cNvPr id="5" name="Image 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C7970687-46CC-B631-3DE5-C4444E9279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FF24D4A-CD59-2671-37CD-FDF3D6E8C0F7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1</a:t>
              </a:r>
            </a:p>
          </p:txBody>
        </p:sp>
      </p:grp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E152EB3D-3F01-995A-D8AD-C9F66F45A737}"/>
              </a:ext>
            </a:extLst>
          </p:cNvPr>
          <p:cNvSpPr/>
          <p:nvPr userDrawn="1"/>
        </p:nvSpPr>
        <p:spPr>
          <a:xfrm>
            <a:off x="543610" y="3209330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713E2199-C99F-884B-645C-5436BB0FF3E9}"/>
              </a:ext>
            </a:extLst>
          </p:cNvPr>
          <p:cNvGrpSpPr/>
          <p:nvPr userDrawn="1"/>
        </p:nvGrpSpPr>
        <p:grpSpPr>
          <a:xfrm>
            <a:off x="2664000" y="3065330"/>
            <a:ext cx="1787772" cy="288000"/>
            <a:chOff x="963273" y="2342097"/>
            <a:chExt cx="1787772" cy="288000"/>
          </a:xfrm>
        </p:grpSpPr>
        <p:pic>
          <p:nvPicPr>
            <p:cNvPr id="11" name="Image 10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A9AAB978-56B5-DC6A-35FB-8F99900FAF3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A34902E-32B8-A2E2-6693-601E5A6EB349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2</a:t>
              </a:r>
            </a:p>
          </p:txBody>
        </p:sp>
      </p:grp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id="{F333A3CC-6303-7D66-3B34-BBDE13D56C0B}"/>
              </a:ext>
            </a:extLst>
          </p:cNvPr>
          <p:cNvSpPr/>
          <p:nvPr userDrawn="1"/>
        </p:nvSpPr>
        <p:spPr>
          <a:xfrm>
            <a:off x="543610" y="4911275"/>
            <a:ext cx="3780000" cy="1440000"/>
          </a:xfrm>
          <a:prstGeom prst="roundRect">
            <a:avLst>
              <a:gd name="adj" fmla="val 8586"/>
            </a:avLst>
          </a:prstGeom>
          <a:solidFill>
            <a:srgbClr val="D5F4F6"/>
          </a:solidFill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11FB446D-CEA1-F233-DA4B-E45ACEF1DEFB}"/>
              </a:ext>
            </a:extLst>
          </p:cNvPr>
          <p:cNvGrpSpPr/>
          <p:nvPr userDrawn="1"/>
        </p:nvGrpSpPr>
        <p:grpSpPr>
          <a:xfrm>
            <a:off x="2664000" y="4767275"/>
            <a:ext cx="1787772" cy="288000"/>
            <a:chOff x="963273" y="2342097"/>
            <a:chExt cx="1787772" cy="288000"/>
          </a:xfrm>
        </p:grpSpPr>
        <p:pic>
          <p:nvPicPr>
            <p:cNvPr id="15" name="Image 14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6A55D38E-F252-69A6-1FCB-40A292CC10E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C2391DB-0FC3-D897-F5BF-96B792A51AC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3</a:t>
              </a:r>
            </a:p>
          </p:txBody>
        </p:sp>
      </p:grp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4F4026A5-FF1B-E446-E9A7-AF0055EFE932}"/>
              </a:ext>
            </a:extLst>
          </p:cNvPr>
          <p:cNvSpPr/>
          <p:nvPr userDrawn="1"/>
        </p:nvSpPr>
        <p:spPr>
          <a:xfrm>
            <a:off x="4735350" y="1502284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8D935484-1F87-FE61-7649-B4F2CD08FDB0}"/>
              </a:ext>
            </a:extLst>
          </p:cNvPr>
          <p:cNvGrpSpPr/>
          <p:nvPr userDrawn="1"/>
        </p:nvGrpSpPr>
        <p:grpSpPr>
          <a:xfrm>
            <a:off x="6876000" y="1358284"/>
            <a:ext cx="1787772" cy="288000"/>
            <a:chOff x="963273" y="2342097"/>
            <a:chExt cx="1787772" cy="288000"/>
          </a:xfrm>
        </p:grpSpPr>
        <p:pic>
          <p:nvPicPr>
            <p:cNvPr id="19" name="Image 18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E9EDA4B9-95AE-1161-6E2B-4D19D4913D4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F72566A-0A75-874C-8ADE-90A75565CC25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4</a:t>
              </a:r>
            </a:p>
          </p:txBody>
        </p:sp>
      </p:grpSp>
      <p:sp>
        <p:nvSpPr>
          <p:cNvPr id="21" name="Rectangle : coins arrondis 20">
            <a:extLst>
              <a:ext uri="{FF2B5EF4-FFF2-40B4-BE49-F238E27FC236}">
                <a16:creationId xmlns:a16="http://schemas.microsoft.com/office/drawing/2014/main" id="{383E4ED1-F046-0607-36DC-67B4321F12F9}"/>
              </a:ext>
            </a:extLst>
          </p:cNvPr>
          <p:cNvSpPr/>
          <p:nvPr userDrawn="1"/>
        </p:nvSpPr>
        <p:spPr>
          <a:xfrm>
            <a:off x="4735350" y="3204228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22" name="Groupe 21">
            <a:extLst>
              <a:ext uri="{FF2B5EF4-FFF2-40B4-BE49-F238E27FC236}">
                <a16:creationId xmlns:a16="http://schemas.microsoft.com/office/drawing/2014/main" id="{A7FC7ADA-8971-A681-A7D3-3658BD7AFA5F}"/>
              </a:ext>
            </a:extLst>
          </p:cNvPr>
          <p:cNvGrpSpPr/>
          <p:nvPr userDrawn="1"/>
        </p:nvGrpSpPr>
        <p:grpSpPr>
          <a:xfrm>
            <a:off x="6876000" y="3060228"/>
            <a:ext cx="1787772" cy="288000"/>
            <a:chOff x="963273" y="2342097"/>
            <a:chExt cx="1787772" cy="288000"/>
          </a:xfrm>
        </p:grpSpPr>
        <p:pic>
          <p:nvPicPr>
            <p:cNvPr id="23" name="Image 22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A94CC92C-6185-84DD-6E63-7EB955D78AC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C6B3217-D89F-5435-B62C-FA55739EBBB3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5</a:t>
              </a:r>
            </a:p>
          </p:txBody>
        </p:sp>
      </p:grpSp>
      <p:sp>
        <p:nvSpPr>
          <p:cNvPr id="25" name="Rectangle : coins arrondis 24">
            <a:extLst>
              <a:ext uri="{FF2B5EF4-FFF2-40B4-BE49-F238E27FC236}">
                <a16:creationId xmlns:a16="http://schemas.microsoft.com/office/drawing/2014/main" id="{61F8FDD8-3482-4B53-B6D1-4855B1478A92}"/>
              </a:ext>
            </a:extLst>
          </p:cNvPr>
          <p:cNvSpPr/>
          <p:nvPr userDrawn="1"/>
        </p:nvSpPr>
        <p:spPr>
          <a:xfrm>
            <a:off x="4735350" y="4906173"/>
            <a:ext cx="3780000" cy="1440000"/>
          </a:xfrm>
          <a:prstGeom prst="roundRect">
            <a:avLst>
              <a:gd name="adj" fmla="val 8586"/>
            </a:avLst>
          </a:prstGeom>
          <a:noFill/>
          <a:ln>
            <a:solidFill>
              <a:srgbClr val="565F8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DCB39F1F-AB81-F657-221D-A52EDD8FF5FF}"/>
              </a:ext>
            </a:extLst>
          </p:cNvPr>
          <p:cNvGrpSpPr/>
          <p:nvPr userDrawn="1"/>
        </p:nvGrpSpPr>
        <p:grpSpPr>
          <a:xfrm>
            <a:off x="6876000" y="4762173"/>
            <a:ext cx="1787772" cy="288000"/>
            <a:chOff x="963273" y="2342097"/>
            <a:chExt cx="1787772" cy="288000"/>
          </a:xfrm>
        </p:grpSpPr>
        <p:pic>
          <p:nvPicPr>
            <p:cNvPr id="27" name="Image 26" descr="Une image contenant capture d’écran, Rectangle&#10;&#10;Le contenu généré par l’IA peut être incorrect.">
              <a:extLst>
                <a:ext uri="{FF2B5EF4-FFF2-40B4-BE49-F238E27FC236}">
                  <a16:creationId xmlns:a16="http://schemas.microsoft.com/office/drawing/2014/main" id="{5B73CD80-C8D2-C04E-0C96-2E3276C83D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273" y="2342097"/>
              <a:ext cx="1787772" cy="288000"/>
            </a:xfrm>
            <a:prstGeom prst="rect">
              <a:avLst/>
            </a:prstGeom>
          </p:spPr>
        </p:pic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84EF71E-D215-2C2E-EFAD-6763B5FFDF16}"/>
                </a:ext>
              </a:extLst>
            </p:cNvPr>
            <p:cNvSpPr/>
            <p:nvPr userDrawn="1"/>
          </p:nvSpPr>
          <p:spPr>
            <a:xfrm>
              <a:off x="963273" y="2342097"/>
              <a:ext cx="1787772" cy="28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65F88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Séance 06</a:t>
              </a:r>
            </a:p>
          </p:txBody>
        </p:sp>
      </p:grpSp>
      <p:sp>
        <p:nvSpPr>
          <p:cNvPr id="2" name="Espace réservé du texte 29">
            <a:extLst>
              <a:ext uri="{FF2B5EF4-FFF2-40B4-BE49-F238E27FC236}">
                <a16:creationId xmlns:a16="http://schemas.microsoft.com/office/drawing/2014/main" id="{C7615D05-760F-5459-4F8E-1CF5EDB8AFB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3610" y="1512000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0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4" name="Espace réservé du texte 29">
            <a:extLst>
              <a:ext uri="{FF2B5EF4-FFF2-40B4-BE49-F238E27FC236}">
                <a16:creationId xmlns:a16="http://schemas.microsoft.com/office/drawing/2014/main" id="{78400896-B348-E5C1-B9FC-5CB05231097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3610" y="3209330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29" name="Espace réservé du texte 29">
            <a:extLst>
              <a:ext uri="{FF2B5EF4-FFF2-40B4-BE49-F238E27FC236}">
                <a16:creationId xmlns:a16="http://schemas.microsoft.com/office/drawing/2014/main" id="{D53A59A5-B33B-614B-D743-FB8C0BB8524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3610" y="4911275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1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153E3310-842C-57DB-DE50-3B4B74672F8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38960" y="3204228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1" name="Espace réservé du texte 29">
            <a:extLst>
              <a:ext uri="{FF2B5EF4-FFF2-40B4-BE49-F238E27FC236}">
                <a16:creationId xmlns:a16="http://schemas.microsoft.com/office/drawing/2014/main" id="{E431787E-F15B-5728-2A25-45776ECDE5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38960" y="4906173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32" name="Espace réservé du texte 29">
            <a:extLst>
              <a:ext uri="{FF2B5EF4-FFF2-40B4-BE49-F238E27FC236}">
                <a16:creationId xmlns:a16="http://schemas.microsoft.com/office/drawing/2014/main" id="{D5CE94EE-E532-793C-25E0-3E866F0519C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38960" y="1502284"/>
            <a:ext cx="3780000" cy="1440000"/>
          </a:xfrm>
          <a:prstGeom prst="rect">
            <a:avLst/>
          </a:prstGeom>
        </p:spPr>
        <p:txBody>
          <a:bodyPr tIns="180000"/>
          <a:lstStyle>
            <a:lvl1pPr marL="355600" indent="-355600" algn="r" rtl="1">
              <a:buFont typeface="Wingdings" panose="05000000000000000000" pitchFamily="2" charset="2"/>
              <a:buChar char=""/>
              <a:defRPr sz="18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 marL="685800" indent="-228600" algn="r" rtl="1">
              <a:buFont typeface="Wingdings" panose="05000000000000000000" pitchFamily="2" charset="2"/>
              <a:buChar char=""/>
              <a:defRPr sz="16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 algn="r" rtl="1">
              <a:defRPr sz="14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 algn="r" rtl="1">
              <a:defRPr sz="120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728582477"/>
      </p:ext>
    </p:extLst>
  </p:cSld>
  <p:clrMapOvr>
    <a:masterClrMapping/>
  </p:clrMapOvr>
  <p:transition spd="slow"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492700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21/11/202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6382717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Disposition personnalisée">
    <p:bg>
      <p:bgPr>
        <a:blipFill dpi="0" rotWithShape="1">
          <a:blip r:embed="rId2">
            <a:lum/>
          </a:blip>
          <a:srcRect/>
          <a:stretch>
            <a:fillRect l="-1000" t="-1000" r="-1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id="{E9371ADD-26AE-A577-29B9-449852C9B6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196" y="895086"/>
            <a:ext cx="7886700" cy="720000"/>
          </a:xfrm>
          <a:prstGeom prst="rect">
            <a:avLst/>
          </a:prstGeom>
        </p:spPr>
        <p:txBody>
          <a:bodyPr anchor="ctr"/>
          <a:lstStyle>
            <a:lvl1pPr algn="ctr" rtl="1">
              <a:defRPr lang="fr-MA" sz="3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pPr lvl="0" algn="ctr"/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262391296"/>
      </p:ext>
    </p:extLst>
  </p:cSld>
  <p:clrMapOvr>
    <a:masterClrMapping/>
  </p:clrMapOvr>
  <p:transition spd="slow"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id="{E9371ADD-26AE-A577-29B9-449852C9B6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972000"/>
            <a:ext cx="7886700" cy="720000"/>
          </a:xfrm>
          <a:prstGeom prst="rect">
            <a:avLst/>
          </a:prstGeom>
        </p:spPr>
        <p:txBody>
          <a:bodyPr anchor="ctr"/>
          <a:lstStyle>
            <a:lvl1pPr algn="r">
              <a:defRPr lang="fr-MA" sz="3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pPr lvl="0" algn="ctr"/>
            <a:r>
              <a:rPr lang="fr-MA" b="1" dirty="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 -  02 </a:t>
            </a:r>
            <a:r>
              <a:rPr lang="ar-MA" b="1" dirty="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معجم</a:t>
            </a:r>
            <a:endParaRPr lang="fr-MA" dirty="0"/>
          </a:p>
        </p:txBody>
      </p:sp>
      <p:sp>
        <p:nvSpPr>
          <p:cNvPr id="4" name="Forme libre : forme 3">
            <a:extLst>
              <a:ext uri="{FF2B5EF4-FFF2-40B4-BE49-F238E27FC236}">
                <a16:creationId xmlns:a16="http://schemas.microsoft.com/office/drawing/2014/main" id="{E757B3EF-85ED-79B4-F526-70739A899F2A}"/>
              </a:ext>
            </a:extLst>
          </p:cNvPr>
          <p:cNvSpPr/>
          <p:nvPr userDrawn="1"/>
        </p:nvSpPr>
        <p:spPr>
          <a:xfrm>
            <a:off x="628650" y="2955833"/>
            <a:ext cx="7886700" cy="540000"/>
          </a:xfrm>
          <a:custGeom>
            <a:avLst/>
            <a:gdLst>
              <a:gd name="connsiteX0" fmla="*/ 170093 w 5365259"/>
              <a:gd name="connsiteY0" fmla="*/ 0 h 305065"/>
              <a:gd name="connsiteX1" fmla="*/ 5198553 w 5365259"/>
              <a:gd name="connsiteY1" fmla="*/ 0 h 305065"/>
              <a:gd name="connsiteX2" fmla="*/ 5355280 w 5365259"/>
              <a:gd name="connsiteY2" fmla="*/ 103885 h 305065"/>
              <a:gd name="connsiteX3" fmla="*/ 5365259 w 5365259"/>
              <a:gd name="connsiteY3" fmla="*/ 153316 h 305065"/>
              <a:gd name="connsiteX4" fmla="*/ 5365259 w 5365259"/>
              <a:gd name="connsiteY4" fmla="*/ 305065 h 305065"/>
              <a:gd name="connsiteX5" fmla="*/ 0 w 5365259"/>
              <a:gd name="connsiteY5" fmla="*/ 305065 h 305065"/>
              <a:gd name="connsiteX6" fmla="*/ 0 w 5365259"/>
              <a:gd name="connsiteY6" fmla="*/ 170093 h 305065"/>
              <a:gd name="connsiteX7" fmla="*/ 170093 w 5365259"/>
              <a:gd name="connsiteY7" fmla="*/ 0 h 305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365259" h="305065">
                <a:moveTo>
                  <a:pt x="170093" y="0"/>
                </a:moveTo>
                <a:lnTo>
                  <a:pt x="5198553" y="0"/>
                </a:lnTo>
                <a:cubicBezTo>
                  <a:pt x="5269008" y="0"/>
                  <a:pt x="5329458" y="42836"/>
                  <a:pt x="5355280" y="103885"/>
                </a:cubicBezTo>
                <a:lnTo>
                  <a:pt x="5365259" y="153316"/>
                </a:lnTo>
                <a:lnTo>
                  <a:pt x="5365259" y="305065"/>
                </a:lnTo>
                <a:lnTo>
                  <a:pt x="0" y="305065"/>
                </a:lnTo>
                <a:lnTo>
                  <a:pt x="0" y="170093"/>
                </a:lnTo>
                <a:cubicBezTo>
                  <a:pt x="0" y="76153"/>
                  <a:pt x="76153" y="0"/>
                  <a:pt x="170093" y="0"/>
                </a:cubicBezTo>
                <a:close/>
              </a:path>
            </a:pathLst>
          </a:custGeom>
          <a:solidFill>
            <a:srgbClr val="55B6DF"/>
          </a:solidFill>
          <a:ln>
            <a:solidFill>
              <a:srgbClr val="55B6D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l"/>
            <a:endParaRPr lang="fr-FR" dirty="0">
              <a:solidFill>
                <a:srgbClr val="CAF2F4"/>
              </a:solidFill>
              <a:latin typeface="Microsoft Uighur" panose="02000000000000000000" pitchFamily="2" charset="-78"/>
            </a:endParaRPr>
          </a:p>
        </p:txBody>
      </p:sp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E002657C-3C1F-4D99-A0E2-77679A65AE23}"/>
              </a:ext>
            </a:extLst>
          </p:cNvPr>
          <p:cNvSpPr/>
          <p:nvPr userDrawn="1"/>
        </p:nvSpPr>
        <p:spPr>
          <a:xfrm>
            <a:off x="628650" y="2955833"/>
            <a:ext cx="7886699" cy="2197281"/>
          </a:xfrm>
          <a:prstGeom prst="roundRect">
            <a:avLst/>
          </a:prstGeom>
          <a:noFill/>
          <a:ln>
            <a:solidFill>
              <a:srgbClr val="55B6D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Microsoft Uighur" panose="02000000000000000000" pitchFamily="2" charset="-78"/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B4A1D94F-62B1-C6D0-7E0F-52D1F997A7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4368" r="-4368"/>
          <a:stretch>
            <a:fillRect/>
          </a:stretch>
        </p:blipFill>
        <p:spPr>
          <a:xfrm>
            <a:off x="7566858" y="2871353"/>
            <a:ext cx="972000" cy="900000"/>
          </a:xfrm>
          <a:prstGeom prst="rect">
            <a:avLst/>
          </a:prstGeom>
        </p:spPr>
      </p:pic>
      <p:pic>
        <p:nvPicPr>
          <p:cNvPr id="9" name="Espace réservé pour une image  20">
            <a:extLst>
              <a:ext uri="{FF2B5EF4-FFF2-40B4-BE49-F238E27FC236}">
                <a16:creationId xmlns:a16="http://schemas.microsoft.com/office/drawing/2014/main" id="{44DC88C6-5707-86F7-D833-5641FA28E5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526" r="-7526"/>
          <a:stretch>
            <a:fillRect/>
          </a:stretch>
        </p:blipFill>
        <p:spPr>
          <a:xfrm>
            <a:off x="410748" y="3027833"/>
            <a:ext cx="468000" cy="4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901780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Disposition personnalisée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oupe 32">
            <a:extLst>
              <a:ext uri="{FF2B5EF4-FFF2-40B4-BE49-F238E27FC236}">
                <a16:creationId xmlns:a16="http://schemas.microsoft.com/office/drawing/2014/main" id="{DEE5DF2A-A2C5-9DDC-2526-F329CE533D62}"/>
              </a:ext>
            </a:extLst>
          </p:cNvPr>
          <p:cNvGrpSpPr/>
          <p:nvPr userDrawn="1"/>
        </p:nvGrpSpPr>
        <p:grpSpPr>
          <a:xfrm>
            <a:off x="1748749" y="4368679"/>
            <a:ext cx="5368645" cy="1013653"/>
            <a:chOff x="1748749" y="1791236"/>
            <a:chExt cx="5368645" cy="1013653"/>
          </a:xfrm>
        </p:grpSpPr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0F869710-FE9A-677D-2DED-7221C5922D87}"/>
                </a:ext>
              </a:extLst>
            </p:cNvPr>
            <p:cNvSpPr/>
            <p:nvPr userDrawn="1"/>
          </p:nvSpPr>
          <p:spPr>
            <a:xfrm>
              <a:off x="1748749" y="1791236"/>
              <a:ext cx="5368645" cy="305065"/>
            </a:xfrm>
            <a:custGeom>
              <a:avLst/>
              <a:gdLst>
                <a:gd name="connsiteX0" fmla="*/ 170093 w 5365259"/>
                <a:gd name="connsiteY0" fmla="*/ 0 h 305065"/>
                <a:gd name="connsiteX1" fmla="*/ 5198553 w 5365259"/>
                <a:gd name="connsiteY1" fmla="*/ 0 h 305065"/>
                <a:gd name="connsiteX2" fmla="*/ 5355280 w 5365259"/>
                <a:gd name="connsiteY2" fmla="*/ 103885 h 305065"/>
                <a:gd name="connsiteX3" fmla="*/ 5365259 w 5365259"/>
                <a:gd name="connsiteY3" fmla="*/ 153316 h 305065"/>
                <a:gd name="connsiteX4" fmla="*/ 5365259 w 5365259"/>
                <a:gd name="connsiteY4" fmla="*/ 305065 h 305065"/>
                <a:gd name="connsiteX5" fmla="*/ 0 w 5365259"/>
                <a:gd name="connsiteY5" fmla="*/ 305065 h 305065"/>
                <a:gd name="connsiteX6" fmla="*/ 0 w 5365259"/>
                <a:gd name="connsiteY6" fmla="*/ 170093 h 305065"/>
                <a:gd name="connsiteX7" fmla="*/ 170093 w 5365259"/>
                <a:gd name="connsiteY7" fmla="*/ 0 h 305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365259" h="305065">
                  <a:moveTo>
                    <a:pt x="170093" y="0"/>
                  </a:moveTo>
                  <a:lnTo>
                    <a:pt x="5198553" y="0"/>
                  </a:lnTo>
                  <a:cubicBezTo>
                    <a:pt x="5269008" y="0"/>
                    <a:pt x="5329458" y="42836"/>
                    <a:pt x="5355280" y="103885"/>
                  </a:cubicBezTo>
                  <a:lnTo>
                    <a:pt x="5365259" y="153316"/>
                  </a:lnTo>
                  <a:lnTo>
                    <a:pt x="5365259" y="305065"/>
                  </a:lnTo>
                  <a:lnTo>
                    <a:pt x="0" y="305065"/>
                  </a:lnTo>
                  <a:lnTo>
                    <a:pt x="0" y="170093"/>
                  </a:lnTo>
                  <a:cubicBezTo>
                    <a:pt x="0" y="76153"/>
                    <a:pt x="76153" y="0"/>
                    <a:pt x="170093" y="0"/>
                  </a:cubicBezTo>
                  <a:close/>
                </a:path>
              </a:pathLst>
            </a:custGeom>
            <a:solidFill>
              <a:srgbClr val="55B6DF"/>
            </a:solidFill>
            <a:ln>
              <a:solidFill>
                <a:srgbClr val="55B6D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fr-FR" dirty="0">
                <a:solidFill>
                  <a:srgbClr val="CAF2F4"/>
                </a:solidFill>
                <a:latin typeface="Microsoft Uighur" panose="02000000000000000000" pitchFamily="2" charset="-78"/>
              </a:endParaRPr>
            </a:p>
          </p:txBody>
        </p:sp>
        <p:sp>
          <p:nvSpPr>
            <p:cNvPr id="35" name="Rectangle : coins arrondis 34">
              <a:extLst>
                <a:ext uri="{FF2B5EF4-FFF2-40B4-BE49-F238E27FC236}">
                  <a16:creationId xmlns:a16="http://schemas.microsoft.com/office/drawing/2014/main" id="{77F6BDE5-2CD1-90CD-2054-C65021FC3B1E}"/>
                </a:ext>
              </a:extLst>
            </p:cNvPr>
            <p:cNvSpPr/>
            <p:nvPr userDrawn="1"/>
          </p:nvSpPr>
          <p:spPr>
            <a:xfrm>
              <a:off x="1748749" y="1928428"/>
              <a:ext cx="5368644" cy="876461"/>
            </a:xfrm>
            <a:prstGeom prst="roundRect">
              <a:avLst/>
            </a:prstGeom>
            <a:noFill/>
            <a:ln>
              <a:solidFill>
                <a:srgbClr val="55B6D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latin typeface="Microsoft Uighur" panose="02000000000000000000" pitchFamily="2" charset="-78"/>
              </a:endParaRPr>
            </a:p>
          </p:txBody>
        </p:sp>
      </p:grp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64F060CB-5859-7A1C-1945-399BF4432E18}"/>
              </a:ext>
            </a:extLst>
          </p:cNvPr>
          <p:cNvGrpSpPr/>
          <p:nvPr userDrawn="1"/>
        </p:nvGrpSpPr>
        <p:grpSpPr>
          <a:xfrm>
            <a:off x="1748749" y="3100374"/>
            <a:ext cx="5368645" cy="1013653"/>
            <a:chOff x="1748749" y="1791236"/>
            <a:chExt cx="5368645" cy="1013653"/>
          </a:xfrm>
        </p:grpSpPr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6C7D7D1B-54A2-EE56-FF38-BA1C4D631D96}"/>
                </a:ext>
              </a:extLst>
            </p:cNvPr>
            <p:cNvSpPr/>
            <p:nvPr userDrawn="1"/>
          </p:nvSpPr>
          <p:spPr>
            <a:xfrm>
              <a:off x="1748749" y="1791236"/>
              <a:ext cx="5368645" cy="305065"/>
            </a:xfrm>
            <a:custGeom>
              <a:avLst/>
              <a:gdLst>
                <a:gd name="connsiteX0" fmla="*/ 170093 w 5365259"/>
                <a:gd name="connsiteY0" fmla="*/ 0 h 305065"/>
                <a:gd name="connsiteX1" fmla="*/ 5198553 w 5365259"/>
                <a:gd name="connsiteY1" fmla="*/ 0 h 305065"/>
                <a:gd name="connsiteX2" fmla="*/ 5355280 w 5365259"/>
                <a:gd name="connsiteY2" fmla="*/ 103885 h 305065"/>
                <a:gd name="connsiteX3" fmla="*/ 5365259 w 5365259"/>
                <a:gd name="connsiteY3" fmla="*/ 153316 h 305065"/>
                <a:gd name="connsiteX4" fmla="*/ 5365259 w 5365259"/>
                <a:gd name="connsiteY4" fmla="*/ 305065 h 305065"/>
                <a:gd name="connsiteX5" fmla="*/ 0 w 5365259"/>
                <a:gd name="connsiteY5" fmla="*/ 305065 h 305065"/>
                <a:gd name="connsiteX6" fmla="*/ 0 w 5365259"/>
                <a:gd name="connsiteY6" fmla="*/ 170093 h 305065"/>
                <a:gd name="connsiteX7" fmla="*/ 170093 w 5365259"/>
                <a:gd name="connsiteY7" fmla="*/ 0 h 305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365259" h="305065">
                  <a:moveTo>
                    <a:pt x="170093" y="0"/>
                  </a:moveTo>
                  <a:lnTo>
                    <a:pt x="5198553" y="0"/>
                  </a:lnTo>
                  <a:cubicBezTo>
                    <a:pt x="5269008" y="0"/>
                    <a:pt x="5329458" y="42836"/>
                    <a:pt x="5355280" y="103885"/>
                  </a:cubicBezTo>
                  <a:lnTo>
                    <a:pt x="5365259" y="153316"/>
                  </a:lnTo>
                  <a:lnTo>
                    <a:pt x="5365259" y="305065"/>
                  </a:lnTo>
                  <a:lnTo>
                    <a:pt x="0" y="305065"/>
                  </a:lnTo>
                  <a:lnTo>
                    <a:pt x="0" y="170093"/>
                  </a:lnTo>
                  <a:cubicBezTo>
                    <a:pt x="0" y="76153"/>
                    <a:pt x="76153" y="0"/>
                    <a:pt x="170093" y="0"/>
                  </a:cubicBezTo>
                  <a:close/>
                </a:path>
              </a:pathLst>
            </a:custGeom>
            <a:solidFill>
              <a:srgbClr val="55B6DF"/>
            </a:solidFill>
            <a:ln>
              <a:solidFill>
                <a:srgbClr val="55B6D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fr-FR" dirty="0">
                <a:solidFill>
                  <a:srgbClr val="CAF2F4"/>
                </a:solidFill>
                <a:latin typeface="Microsoft Uighur" panose="02000000000000000000" pitchFamily="2" charset="-78"/>
              </a:endParaRPr>
            </a:p>
          </p:txBody>
        </p:sp>
        <p:sp>
          <p:nvSpPr>
            <p:cNvPr id="32" name="Rectangle : coins arrondis 31">
              <a:extLst>
                <a:ext uri="{FF2B5EF4-FFF2-40B4-BE49-F238E27FC236}">
                  <a16:creationId xmlns:a16="http://schemas.microsoft.com/office/drawing/2014/main" id="{EBF7EB9F-D0CB-C146-C0DF-1FEA97915CD3}"/>
                </a:ext>
              </a:extLst>
            </p:cNvPr>
            <p:cNvSpPr/>
            <p:nvPr userDrawn="1"/>
          </p:nvSpPr>
          <p:spPr>
            <a:xfrm>
              <a:off x="1748749" y="1928428"/>
              <a:ext cx="5368644" cy="876461"/>
            </a:xfrm>
            <a:prstGeom prst="roundRect">
              <a:avLst/>
            </a:prstGeom>
            <a:noFill/>
            <a:ln>
              <a:solidFill>
                <a:srgbClr val="55B6D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latin typeface="Microsoft Uighur" panose="02000000000000000000" pitchFamily="2" charset="-78"/>
              </a:endParaRPr>
            </a:p>
          </p:txBody>
        </p:sp>
      </p:grpSp>
      <p:grpSp>
        <p:nvGrpSpPr>
          <p:cNvPr id="29" name="Groupe 28">
            <a:extLst>
              <a:ext uri="{FF2B5EF4-FFF2-40B4-BE49-F238E27FC236}">
                <a16:creationId xmlns:a16="http://schemas.microsoft.com/office/drawing/2014/main" id="{5A53ADCC-F9EE-1544-60CF-B13B748987BA}"/>
              </a:ext>
            </a:extLst>
          </p:cNvPr>
          <p:cNvGrpSpPr/>
          <p:nvPr userDrawn="1"/>
        </p:nvGrpSpPr>
        <p:grpSpPr>
          <a:xfrm>
            <a:off x="1748749" y="1791236"/>
            <a:ext cx="5368645" cy="1013653"/>
            <a:chOff x="1748749" y="1791236"/>
            <a:chExt cx="5368645" cy="1013653"/>
          </a:xfrm>
        </p:grpSpPr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5C479736-F023-78FA-4D69-3C86D60DBD07}"/>
                </a:ext>
              </a:extLst>
            </p:cNvPr>
            <p:cNvSpPr/>
            <p:nvPr userDrawn="1"/>
          </p:nvSpPr>
          <p:spPr>
            <a:xfrm>
              <a:off x="1748749" y="1791236"/>
              <a:ext cx="5368645" cy="305065"/>
            </a:xfrm>
            <a:custGeom>
              <a:avLst/>
              <a:gdLst>
                <a:gd name="connsiteX0" fmla="*/ 170093 w 5365259"/>
                <a:gd name="connsiteY0" fmla="*/ 0 h 305065"/>
                <a:gd name="connsiteX1" fmla="*/ 5198553 w 5365259"/>
                <a:gd name="connsiteY1" fmla="*/ 0 h 305065"/>
                <a:gd name="connsiteX2" fmla="*/ 5355280 w 5365259"/>
                <a:gd name="connsiteY2" fmla="*/ 103885 h 305065"/>
                <a:gd name="connsiteX3" fmla="*/ 5365259 w 5365259"/>
                <a:gd name="connsiteY3" fmla="*/ 153316 h 305065"/>
                <a:gd name="connsiteX4" fmla="*/ 5365259 w 5365259"/>
                <a:gd name="connsiteY4" fmla="*/ 305065 h 305065"/>
                <a:gd name="connsiteX5" fmla="*/ 0 w 5365259"/>
                <a:gd name="connsiteY5" fmla="*/ 305065 h 305065"/>
                <a:gd name="connsiteX6" fmla="*/ 0 w 5365259"/>
                <a:gd name="connsiteY6" fmla="*/ 170093 h 305065"/>
                <a:gd name="connsiteX7" fmla="*/ 170093 w 5365259"/>
                <a:gd name="connsiteY7" fmla="*/ 0 h 305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365259" h="305065">
                  <a:moveTo>
                    <a:pt x="170093" y="0"/>
                  </a:moveTo>
                  <a:lnTo>
                    <a:pt x="5198553" y="0"/>
                  </a:lnTo>
                  <a:cubicBezTo>
                    <a:pt x="5269008" y="0"/>
                    <a:pt x="5329458" y="42836"/>
                    <a:pt x="5355280" y="103885"/>
                  </a:cubicBezTo>
                  <a:lnTo>
                    <a:pt x="5365259" y="153316"/>
                  </a:lnTo>
                  <a:lnTo>
                    <a:pt x="5365259" y="305065"/>
                  </a:lnTo>
                  <a:lnTo>
                    <a:pt x="0" y="305065"/>
                  </a:lnTo>
                  <a:lnTo>
                    <a:pt x="0" y="170093"/>
                  </a:lnTo>
                  <a:cubicBezTo>
                    <a:pt x="0" y="76153"/>
                    <a:pt x="76153" y="0"/>
                    <a:pt x="170093" y="0"/>
                  </a:cubicBezTo>
                  <a:close/>
                </a:path>
              </a:pathLst>
            </a:custGeom>
            <a:solidFill>
              <a:srgbClr val="55B6DF"/>
            </a:solidFill>
            <a:ln>
              <a:solidFill>
                <a:srgbClr val="55B6D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fr-FR" dirty="0">
                <a:solidFill>
                  <a:srgbClr val="CAF2F4"/>
                </a:solidFill>
                <a:latin typeface="Microsoft Uighur" panose="02000000000000000000" pitchFamily="2" charset="-78"/>
              </a:endParaRPr>
            </a:p>
          </p:txBody>
        </p:sp>
        <p:sp>
          <p:nvSpPr>
            <p:cNvPr id="28" name="Rectangle : coins arrondis 27">
              <a:extLst>
                <a:ext uri="{FF2B5EF4-FFF2-40B4-BE49-F238E27FC236}">
                  <a16:creationId xmlns:a16="http://schemas.microsoft.com/office/drawing/2014/main" id="{631E814A-6B8A-876F-B330-D29CBCDCBA25}"/>
                </a:ext>
              </a:extLst>
            </p:cNvPr>
            <p:cNvSpPr/>
            <p:nvPr userDrawn="1"/>
          </p:nvSpPr>
          <p:spPr>
            <a:xfrm>
              <a:off x="1748749" y="1928428"/>
              <a:ext cx="5368644" cy="876461"/>
            </a:xfrm>
            <a:prstGeom prst="roundRect">
              <a:avLst/>
            </a:prstGeom>
            <a:noFill/>
            <a:ln>
              <a:solidFill>
                <a:srgbClr val="55B6D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latin typeface="Microsoft Uighur" panose="02000000000000000000" pitchFamily="2" charset="-78"/>
              </a:endParaRPr>
            </a:p>
          </p:txBody>
        </p:sp>
      </p:grpSp>
      <p:pic>
        <p:nvPicPr>
          <p:cNvPr id="25" name="Image 24">
            <a:extLst>
              <a:ext uri="{FF2B5EF4-FFF2-40B4-BE49-F238E27FC236}">
                <a16:creationId xmlns:a16="http://schemas.microsoft.com/office/drawing/2014/main" id="{177D1CC0-8A13-B399-A07F-823E203718E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29063" y="1851798"/>
            <a:ext cx="544953" cy="540000"/>
          </a:xfrm>
          <a:prstGeom prst="rect">
            <a:avLst/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id="{6BDEABDE-DF85-2C7F-016B-8BB6AEE8988A}"/>
              </a:ext>
            </a:extLst>
          </p:cNvPr>
          <p:cNvSpPr txBox="1"/>
          <p:nvPr userDrawn="1"/>
        </p:nvSpPr>
        <p:spPr>
          <a:xfrm>
            <a:off x="4749553" y="1780565"/>
            <a:ext cx="1779510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Dosis ExtraBold" pitchFamily="2" charset="0"/>
                <a:ea typeface="+mn-ea"/>
                <a:cs typeface="Microsoft Uighur" panose="02000000000000000000" pitchFamily="2" charset="-78"/>
              </a:rPr>
              <a:t>  - 01</a:t>
            </a:r>
            <a:r>
              <a:rPr kumimoji="0" lang="ar-MA" sz="1600" b="0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Dosis ExtraBold" pitchFamily="2" charset="0"/>
                <a:ea typeface="+mn-ea"/>
                <a:cs typeface="Microsoft Uighur" panose="02000000000000000000" pitchFamily="2" charset="-78"/>
              </a:rPr>
              <a:t> انشطة اعتيادية</a:t>
            </a:r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650" y="895981"/>
            <a:ext cx="7886700" cy="705267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rgbClr val="474F71"/>
                </a:solidFill>
                <a:latin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1207" y="3144539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7AA3FD7D-A058-EEFF-B5E0-B9773B884245}"/>
              </a:ext>
            </a:extLst>
          </p:cNvPr>
          <p:cNvSpPr txBox="1"/>
          <p:nvPr userDrawn="1"/>
        </p:nvSpPr>
        <p:spPr>
          <a:xfrm>
            <a:off x="5548330" y="3100065"/>
            <a:ext cx="87876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Dosis ExtraBold" pitchFamily="2" charset="0"/>
                <a:ea typeface="+mn-ea"/>
                <a:cs typeface="Microsoft Uighur" panose="02000000000000000000" pitchFamily="2" charset="-78"/>
              </a:rPr>
              <a:t> - 02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Dosis ExtraBold" pitchFamily="2" charset="0"/>
                <a:ea typeface="+mn-ea"/>
                <a:cs typeface="Microsoft Uighur" panose="02000000000000000000" pitchFamily="2" charset="-78"/>
              </a:rPr>
              <a:t>معجم</a:t>
            </a:r>
            <a:endParaRPr kumimoji="0" lang="fr-MA" sz="1600" b="0" i="0" u="none" strike="noStrike" kern="1200" cap="none" spc="0" normalizeH="0" baseline="0" noProof="0" dirty="0">
              <a:ln>
                <a:noFill/>
              </a:ln>
              <a:solidFill>
                <a:srgbClr val="424D7B"/>
              </a:solidFill>
              <a:effectLst/>
              <a:uLnTx/>
              <a:uFillTx/>
              <a:latin typeface="Dosis ExtraBold" pitchFamily="2" charset="0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7ED25096-1652-CF94-A635-43A9EF75D40F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1910675" y="3414699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424D7B"/>
                </a:solidFill>
                <a:latin typeface="Dosis SemiBold" pitchFamily="2" charset="0"/>
              </a:defRPr>
            </a:lvl1pPr>
            <a:lvl2pPr marL="685800" indent="-2286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424D7B"/>
                </a:solidFill>
                <a:latin typeface="Dosis SemiBold" pitchFamily="2" charset="0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6" name="Espace réservé pour une image  26">
            <a:extLst>
              <a:ext uri="{FF2B5EF4-FFF2-40B4-BE49-F238E27FC236}">
                <a16:creationId xmlns:a16="http://schemas.microsoft.com/office/drawing/2014/main" id="{FA15E7D4-4E24-20DC-DC31-FB1FD66404E2}"/>
              </a:ext>
            </a:extLst>
          </p:cNvPr>
          <p:cNvSpPr>
            <a:spLocks noGrp="1" noChangeAspect="1"/>
          </p:cNvSpPr>
          <p:nvPr userDrawn="1">
            <p:ph type="pic" sz="quarter" idx="11"/>
          </p:nvPr>
        </p:nvSpPr>
        <p:spPr>
          <a:xfrm>
            <a:off x="1551387" y="1635472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id="{AB5B6BF7-7F16-3864-93ED-878A7E81FCF6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1469381" y="2861909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29315594-663F-76C6-60A7-A64669BD4407}"/>
              </a:ext>
            </a:extLst>
          </p:cNvPr>
          <p:cNvSpPr txBox="1"/>
          <p:nvPr userDrawn="1"/>
        </p:nvSpPr>
        <p:spPr>
          <a:xfrm>
            <a:off x="5065827" y="4376851"/>
            <a:ext cx="136127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Dosis ExtraBold" pitchFamily="2" charset="0"/>
                <a:ea typeface="+mn-ea"/>
                <a:cs typeface="Microsoft Uighur" panose="02000000000000000000" pitchFamily="2" charset="-78"/>
              </a:rPr>
              <a:t> </a:t>
            </a: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Dosis ExtraBold" pitchFamily="2" charset="0"/>
                <a:ea typeface="+mn-ea"/>
                <a:cs typeface="Microsoft Uighur" panose="02000000000000000000" pitchFamily="2" charset="-78"/>
              </a:rPr>
              <a:t> - 03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Dosis ExtraBold" pitchFamily="2" charset="0"/>
                <a:ea typeface="+mn-ea"/>
                <a:cs typeface="Microsoft Uighur" panose="02000000000000000000" pitchFamily="2" charset="-78"/>
              </a:rPr>
              <a:t>استماع وتحدث</a:t>
            </a:r>
          </a:p>
        </p:txBody>
      </p:sp>
      <p:sp>
        <p:nvSpPr>
          <p:cNvPr id="22" name="Espace réservé du texte 5">
            <a:extLst>
              <a:ext uri="{FF2B5EF4-FFF2-40B4-BE49-F238E27FC236}">
                <a16:creationId xmlns:a16="http://schemas.microsoft.com/office/drawing/2014/main" id="{56077135-79B7-BF8F-DFF0-9627E210A1E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910675" y="4691485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424D7B"/>
                </a:solidFill>
                <a:latin typeface="Dosis SemiBold" pitchFamily="2" charset="0"/>
              </a:defRPr>
            </a:lvl1pPr>
            <a:lvl2pPr marL="685800" indent="-2286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424D7B"/>
                </a:solidFill>
                <a:latin typeface="Dosis SemiBold" pitchFamily="2" charset="0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3" name="Espace réservé pour une image  26">
            <a:extLst>
              <a:ext uri="{FF2B5EF4-FFF2-40B4-BE49-F238E27FC236}">
                <a16:creationId xmlns:a16="http://schemas.microsoft.com/office/drawing/2014/main" id="{3FC35363-7250-C7AC-02C8-ECF3703889B7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1469381" y="4138695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27ED9F1C-25D9-EA0F-66D1-D7D3BB3ACC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-13143" r="-13143"/>
          <a:stretch>
            <a:fillRect/>
          </a:stretch>
        </p:blipFill>
        <p:spPr>
          <a:xfrm>
            <a:off x="6589204" y="4424575"/>
            <a:ext cx="536400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516186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Masco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613" y="756000"/>
            <a:ext cx="6840000" cy="612000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2F159B12-62B7-22A2-9765-7264C5423C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7A344F50-A074-9EB5-2DAC-9BBA2096933C}"/>
              </a:ext>
            </a:extLst>
          </p:cNvPr>
          <p:cNvSpPr>
            <a:spLocks noGrp="1" noChangeAspect="1"/>
          </p:cNvSpPr>
          <p:nvPr>
            <p:ph type="media" sz="quarter" idx="13"/>
          </p:nvPr>
        </p:nvSpPr>
        <p:spPr>
          <a:xfrm>
            <a:off x="3255750" y="1584000"/>
            <a:ext cx="2632500" cy="4680000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705828042"/>
      </p:ext>
    </p:extLst>
  </p:cSld>
  <p:clrMapOvr>
    <a:masterClrMapping/>
  </p:clrMapOvr>
  <p:transition spd="slow"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Large Vidé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E091C94E-1B65-3089-5F06-AAE4424DF093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792000" y="2160000"/>
            <a:ext cx="7560000" cy="3960000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7598C516-D98D-DBF9-3F71-DFEB0161C87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838460319"/>
      </p:ext>
    </p:extLst>
  </p:cSld>
  <p:clrMapOvr>
    <a:masterClrMapping/>
  </p:clrMapOvr>
  <p:transition spd="slow"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Vidé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E091C94E-1B65-3089-5F06-AAE4424DF093}"/>
              </a:ext>
            </a:extLst>
          </p:cNvPr>
          <p:cNvSpPr>
            <a:spLocks noGrp="1" noChangeAspect="1"/>
          </p:cNvSpPr>
          <p:nvPr>
            <p:ph type="media" sz="quarter" idx="10"/>
          </p:nvPr>
        </p:nvSpPr>
        <p:spPr>
          <a:xfrm>
            <a:off x="1692000" y="2026860"/>
            <a:ext cx="5760000" cy="3017150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du texte 4">
            <a:extLst>
              <a:ext uri="{FF2B5EF4-FFF2-40B4-BE49-F238E27FC236}">
                <a16:creationId xmlns:a16="http://schemas.microsoft.com/office/drawing/2014/main" id="{9926949A-F877-393A-0235-737EC4E29E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91999" y="5400000"/>
            <a:ext cx="5760000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2800" b="1" kern="1200" cap="none" spc="0" dirty="0">
                <a:ln w="0"/>
                <a:solidFill>
                  <a:srgbClr val="474F71"/>
                </a:solidFill>
                <a:effectLst/>
                <a:latin typeface="Dosis" pitchFamily="2" charset="0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8" name="Espace réservé pour une image  16">
            <a:extLst>
              <a:ext uri="{FF2B5EF4-FFF2-40B4-BE49-F238E27FC236}">
                <a16:creationId xmlns:a16="http://schemas.microsoft.com/office/drawing/2014/main" id="{EEF34296-E850-0AEB-BB92-43EC46A1102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990239427"/>
      </p:ext>
    </p:extLst>
  </p:cSld>
  <p:clrMapOvr>
    <a:masterClrMapping/>
  </p:clrMapOvr>
  <p:transition spd="slow"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2">
            <a:extLst>
              <a:ext uri="{FF2B5EF4-FFF2-40B4-BE49-F238E27FC236}">
                <a16:creationId xmlns:a16="http://schemas.microsoft.com/office/drawing/2014/main" id="{C8528F83-9A65-C0AF-DA97-1526D668AC8E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1395438" y="2344003"/>
            <a:ext cx="2880000" cy="288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du texte 4">
            <a:extLst>
              <a:ext uri="{FF2B5EF4-FFF2-40B4-BE49-F238E27FC236}">
                <a16:creationId xmlns:a16="http://schemas.microsoft.com/office/drawing/2014/main" id="{993D7940-6B7C-F4DD-FCA1-A62E6F04A7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31055" y="3240000"/>
            <a:ext cx="3613875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5400" b="1" kern="1200" cap="none" spc="0" dirty="0">
                <a:ln w="0"/>
                <a:solidFill>
                  <a:srgbClr val="474F71"/>
                </a:solidFill>
                <a:effectLst/>
                <a:latin typeface="Dosis" pitchFamily="2" charset="0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9D132558-3F75-CB4C-D531-27315320B88F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286035602"/>
      </p:ext>
    </p:extLst>
  </p:cSld>
  <p:clrMapOvr>
    <a:masterClrMapping/>
  </p:clrMapOvr>
  <p:transition spd="slow"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  <a:lvl2pPr algn="r" rtl="1">
              <a:defRPr>
                <a:latin typeface="Microsoft Uighur" panose="02000000000000000000" pitchFamily="2" charset="-78"/>
              </a:defRPr>
            </a:lvl2pPr>
            <a:lvl3pPr algn="r" rtl="1">
              <a:defRPr>
                <a:latin typeface="Microsoft Uighur" panose="02000000000000000000" pitchFamily="2" charset="-78"/>
              </a:defRPr>
            </a:lvl3pPr>
            <a:lvl4pPr algn="r" rtl="1">
              <a:defRPr>
                <a:latin typeface="Microsoft Uighur" panose="02000000000000000000" pitchFamily="2" charset="-78"/>
              </a:defRPr>
            </a:lvl4pPr>
            <a:lvl5pPr algn="r" rtl="1">
              <a:defRPr>
                <a:latin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12" name="Espace réservé de l'élément multimédia 11">
            <a:extLst>
              <a:ext uri="{FF2B5EF4-FFF2-40B4-BE49-F238E27FC236}">
                <a16:creationId xmlns:a16="http://schemas.microsoft.com/office/drawing/2014/main" id="{F829FF4F-B5FF-57C3-494A-3084F0422CA9}"/>
              </a:ext>
            </a:extLst>
          </p:cNvPr>
          <p:cNvSpPr>
            <a:spLocks noGrp="1"/>
          </p:cNvSpPr>
          <p:nvPr>
            <p:ph type="media" sz="quarter" idx="14"/>
          </p:nvPr>
        </p:nvSpPr>
        <p:spPr>
          <a:xfrm>
            <a:off x="360000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E1E0570-45E7-D32C-C3AF-C520C3495AA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05869547"/>
      </p:ext>
    </p:extLst>
  </p:cSld>
  <p:clrMapOvr>
    <a:masterClrMapping/>
  </p:clrMapOvr>
  <p:transition spd="slow"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  <a:lvl2pPr algn="r" rtl="1">
              <a:defRPr>
                <a:latin typeface="Microsoft Uighur" panose="02000000000000000000" pitchFamily="2" charset="-78"/>
              </a:defRPr>
            </a:lvl2pPr>
            <a:lvl3pPr algn="r" rtl="1">
              <a:defRPr>
                <a:latin typeface="Microsoft Uighur" panose="02000000000000000000" pitchFamily="2" charset="-78"/>
              </a:defRPr>
            </a:lvl3pPr>
            <a:lvl4pPr algn="r" rtl="1">
              <a:defRPr>
                <a:latin typeface="Microsoft Uighur" panose="02000000000000000000" pitchFamily="2" charset="-78"/>
              </a:defRPr>
            </a:lvl4pPr>
            <a:lvl5pPr algn="r" rtl="1">
              <a:defRPr>
                <a:latin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5" name="Espace réservé pour une image  4">
            <a:extLst>
              <a:ext uri="{FF2B5EF4-FFF2-40B4-BE49-F238E27FC236}">
                <a16:creationId xmlns:a16="http://schemas.microsoft.com/office/drawing/2014/main" id="{5D718CC0-0BDB-9947-CCFF-FF1A546B985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60045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85D16DE4-155A-6638-E7CE-E7A28AA4B608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940076808"/>
      </p:ext>
    </p:extLst>
  </p:cSld>
  <p:clrMapOvr>
    <a:masterClrMapping/>
  </p:clrMapOvr>
  <p:transition spd="slow"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3" name="Espace réservé pour une image  6">
            <a:extLst>
              <a:ext uri="{FF2B5EF4-FFF2-40B4-BE49-F238E27FC236}">
                <a16:creationId xmlns:a16="http://schemas.microsoft.com/office/drawing/2014/main" id="{6DBEF773-D41A-C770-09A2-4E95231BCEF2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4016173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6" name="Espace réservé pour une image  6">
            <a:extLst>
              <a:ext uri="{FF2B5EF4-FFF2-40B4-BE49-F238E27FC236}">
                <a16:creationId xmlns:a16="http://schemas.microsoft.com/office/drawing/2014/main" id="{7E603A45-15AE-F689-5C77-2638CD14111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016173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7" name="Espace réservé pour une image  6">
            <a:extLst>
              <a:ext uri="{FF2B5EF4-FFF2-40B4-BE49-F238E27FC236}">
                <a16:creationId xmlns:a16="http://schemas.microsoft.com/office/drawing/2014/main" id="{7A287785-23C6-809D-E732-3B10E73FF581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4016173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8" name="Espace réservé pour une image  6">
            <a:extLst>
              <a:ext uri="{FF2B5EF4-FFF2-40B4-BE49-F238E27FC236}">
                <a16:creationId xmlns:a16="http://schemas.microsoft.com/office/drawing/2014/main" id="{CAB978FA-F72D-651F-22D4-C77E74E59D59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5512359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9" name="Espace réservé pour une image  6">
            <a:extLst>
              <a:ext uri="{FF2B5EF4-FFF2-40B4-BE49-F238E27FC236}">
                <a16:creationId xmlns:a16="http://schemas.microsoft.com/office/drawing/2014/main" id="{A2C53014-67DF-ECB7-1756-F9962A42486C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5512359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0" name="Espace réservé pour une image  6">
            <a:extLst>
              <a:ext uri="{FF2B5EF4-FFF2-40B4-BE49-F238E27FC236}">
                <a16:creationId xmlns:a16="http://schemas.microsoft.com/office/drawing/2014/main" id="{831DC1D3-24B1-B160-E0F9-C7E35DA4E887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5512359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1" name="Espace réservé pour une image  6">
            <a:extLst>
              <a:ext uri="{FF2B5EF4-FFF2-40B4-BE49-F238E27FC236}">
                <a16:creationId xmlns:a16="http://schemas.microsoft.com/office/drawing/2014/main" id="{76695F17-301A-B0CF-5141-CF072746FE4A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008545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2" name="Espace réservé pour une image  6">
            <a:extLst>
              <a:ext uri="{FF2B5EF4-FFF2-40B4-BE49-F238E27FC236}">
                <a16:creationId xmlns:a16="http://schemas.microsoft.com/office/drawing/2014/main" id="{142B664B-C11B-6AA7-4A9C-0531048F6C3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008545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6">
            <a:extLst>
              <a:ext uri="{FF2B5EF4-FFF2-40B4-BE49-F238E27FC236}">
                <a16:creationId xmlns:a16="http://schemas.microsoft.com/office/drawing/2014/main" id="{6CB2D926-9334-B815-CB14-067B65BB32B5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7008545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de l'élément multimédia 4">
            <a:extLst>
              <a:ext uri="{FF2B5EF4-FFF2-40B4-BE49-F238E27FC236}">
                <a16:creationId xmlns:a16="http://schemas.microsoft.com/office/drawing/2014/main" id="{AC4130FF-D25A-0542-47B5-C8C15CA14464}"/>
              </a:ext>
            </a:extLst>
          </p:cNvPr>
          <p:cNvSpPr>
            <a:spLocks noGrp="1" noChangeAspect="1"/>
          </p:cNvSpPr>
          <p:nvPr>
            <p:ph type="media" sz="quarter" idx="29"/>
          </p:nvPr>
        </p:nvSpPr>
        <p:spPr>
          <a:xfrm>
            <a:off x="1224000" y="1806417"/>
            <a:ext cx="2628000" cy="468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1324D1A-D9D9-B5ED-B73D-27AA0C2A9866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041055683"/>
      </p:ext>
    </p:extLst>
  </p:cSld>
  <p:clrMapOvr>
    <a:masterClrMapping/>
  </p:clrMapOvr>
  <p:transition spd="slow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sposition personnalisée">
    <p:bg>
      <p:bgPr>
        <a:blipFill dpi="0" rotWithShape="1">
          <a:blip r:embed="rId2">
            <a:lum/>
          </a:blip>
          <a:srcRect/>
          <a:stretch>
            <a:fillRect l="-1000" t="-1000" r="-1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id="{E9371ADD-26AE-A577-29B9-449852C9B6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196" y="895086"/>
            <a:ext cx="7886700" cy="720000"/>
          </a:xfrm>
          <a:prstGeom prst="rect">
            <a:avLst/>
          </a:prstGeom>
        </p:spPr>
        <p:txBody>
          <a:bodyPr anchor="ctr"/>
          <a:lstStyle>
            <a:lvl1pPr algn="ctr" rtl="1">
              <a:defRPr lang="fr-MA" sz="3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pPr lvl="0" algn="ctr"/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939868554"/>
      </p:ext>
    </p:extLst>
  </p:cSld>
  <p:clrMapOvr>
    <a:masterClrMapping/>
  </p:clrMapOvr>
  <p:transition spd="slow"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3B76699B-E059-47DC-DE0E-BA72358357D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319528445"/>
      </p:ext>
    </p:extLst>
  </p:cSld>
  <p:clrMapOvr>
    <a:masterClrMapping/>
  </p:clrMapOvr>
  <p:transition spd="slow"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r"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44355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32697" y="4573417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210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809383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87FAFC7B-FA92-DE4F-26F0-9F5500C95015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241290487"/>
      </p:ext>
    </p:extLst>
  </p:cSld>
  <p:clrMapOvr>
    <a:masterClrMapping/>
  </p:clrMapOvr>
  <p:transition spd="slow"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479323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3759312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039301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79323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75931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39301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803C138-D469-2A4F-DFF7-7BDE3B1200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297273074"/>
      </p:ext>
    </p:extLst>
  </p:cSld>
  <p:clrMapOvr>
    <a:masterClrMapping/>
  </p:clrMapOvr>
  <p:transition spd="slow"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479323" y="4161429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3759312" y="4161429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039301" y="4161429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803C138-D469-2A4F-DFF7-7BDE3B1200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pour une image  14">
            <a:extLst>
              <a:ext uri="{FF2B5EF4-FFF2-40B4-BE49-F238E27FC236}">
                <a16:creationId xmlns:a16="http://schemas.microsoft.com/office/drawing/2014/main" id="{ED574AA3-B351-6E81-47C1-AE4FFFE36E29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1479323" y="209293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C16BD22B-8A37-1A44-3B56-1FFE388CB895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3759312" y="209293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0" name="Espace réservé pour une image  14">
            <a:extLst>
              <a:ext uri="{FF2B5EF4-FFF2-40B4-BE49-F238E27FC236}">
                <a16:creationId xmlns:a16="http://schemas.microsoft.com/office/drawing/2014/main" id="{F6356B9C-DDC6-0D39-05E4-6D75382B79D2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6039301" y="209293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550719258"/>
      </p:ext>
    </p:extLst>
  </p:cSld>
  <p:clrMapOvr>
    <a:masterClrMapping/>
  </p:clrMapOvr>
  <p:transition spd="slow"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17628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7279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56931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26582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7628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7279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6931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6582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0D6A5E2-01C6-D590-C3C3-E3E3120C435F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116396121"/>
      </p:ext>
    </p:extLst>
  </p:cSld>
  <p:clrMapOvr>
    <a:masterClrMapping/>
  </p:clrMapOvr>
  <p:transition spd="slow"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35837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05489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75140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4792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837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05489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75140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4792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10ABAA10-5FC2-5899-38A7-DD016CAF6D6F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144439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du texte 14">
            <a:extLst>
              <a:ext uri="{FF2B5EF4-FFF2-40B4-BE49-F238E27FC236}">
                <a16:creationId xmlns:a16="http://schemas.microsoft.com/office/drawing/2014/main" id="{6D6969BD-245C-42EC-7085-CCC9CAE7B5D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144439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1" name="Espace réservé pour une image  16">
            <a:extLst>
              <a:ext uri="{FF2B5EF4-FFF2-40B4-BE49-F238E27FC236}">
                <a16:creationId xmlns:a16="http://schemas.microsoft.com/office/drawing/2014/main" id="{22CA7E9F-9679-5248-AEE2-BF953C8E64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191354002"/>
      </p:ext>
    </p:extLst>
  </p:cSld>
  <p:clrMapOvr>
    <a:masterClrMapping/>
  </p:clrMapOvr>
  <p:transition spd="slow"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0" name="Espace réservé pour une image  14">
            <a:extLst>
              <a:ext uri="{FF2B5EF4-FFF2-40B4-BE49-F238E27FC236}">
                <a16:creationId xmlns:a16="http://schemas.microsoft.com/office/drawing/2014/main" id="{F72B9DAC-5B26-3AA7-F1E9-7199F361C36B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1" name="Espace réservé pour une image  14">
            <a:extLst>
              <a:ext uri="{FF2B5EF4-FFF2-40B4-BE49-F238E27FC236}">
                <a16:creationId xmlns:a16="http://schemas.microsoft.com/office/drawing/2014/main" id="{6CAD6A59-FF09-83BD-CF55-048C618D77D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2" name="Espace réservé pour une image  14">
            <a:extLst>
              <a:ext uri="{FF2B5EF4-FFF2-40B4-BE49-F238E27FC236}">
                <a16:creationId xmlns:a16="http://schemas.microsoft.com/office/drawing/2014/main" id="{2270B6D3-B398-4D84-E776-FBEF7EA75FB9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3" name="Espace réservé pour une image  14">
            <a:extLst>
              <a:ext uri="{FF2B5EF4-FFF2-40B4-BE49-F238E27FC236}">
                <a16:creationId xmlns:a16="http://schemas.microsoft.com/office/drawing/2014/main" id="{5DBFF0BF-C86C-814E-B36F-BBBAA0F52754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4" name="Espace réservé pour une image  14">
            <a:extLst>
              <a:ext uri="{FF2B5EF4-FFF2-40B4-BE49-F238E27FC236}">
                <a16:creationId xmlns:a16="http://schemas.microsoft.com/office/drawing/2014/main" id="{E726AE8C-307B-2987-95A8-6F7E9A0252DE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12620F5-42B6-A595-4B8A-576787B826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515533081"/>
      </p:ext>
    </p:extLst>
  </p:cSld>
  <p:clrMapOvr>
    <a:masterClrMapping/>
  </p:clrMapOvr>
  <p:transition spd="slow"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90870748-DEBB-7999-E4EA-5505C8D576AB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33226913"/>
      </p:ext>
    </p:extLst>
  </p:cSld>
  <p:clrMapOvr>
    <a:masterClrMapping/>
  </p:clrMapOvr>
  <p:transition spd="slow"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3A90A1F0-EDD6-9649-9002-A9FD386E735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833686225"/>
      </p:ext>
    </p:extLst>
  </p:cSld>
  <p:clrMapOvr>
    <a:masterClrMapping/>
  </p:clrMapOvr>
  <p:transition spd="slow"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1AD089D0-4BDB-8D43-FA23-9FA976E0B15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744777646"/>
      </p:ext>
    </p:extLst>
  </p:cSld>
  <p:clrMapOvr>
    <a:masterClrMapping/>
  </p:clrMapOvr>
  <p:transition spd="slow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21/11/202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2936590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6" name="Espace réservé du texte 14">
            <a:extLst>
              <a:ext uri="{FF2B5EF4-FFF2-40B4-BE49-F238E27FC236}">
                <a16:creationId xmlns:a16="http://schemas.microsoft.com/office/drawing/2014/main" id="{24C4BDD6-3530-4D8F-6435-7481BF63741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83970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7" name="Espace réservé du texte 14">
            <a:extLst>
              <a:ext uri="{FF2B5EF4-FFF2-40B4-BE49-F238E27FC236}">
                <a16:creationId xmlns:a16="http://schemas.microsoft.com/office/drawing/2014/main" id="{28318D23-D16D-A34E-43C5-131B2D3880D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772312" y="3662239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8" name="Espace réservé du texte 14">
            <a:extLst>
              <a:ext uri="{FF2B5EF4-FFF2-40B4-BE49-F238E27FC236}">
                <a16:creationId xmlns:a16="http://schemas.microsoft.com/office/drawing/2014/main" id="{47B1FA81-6AC5-8E1B-72FC-38B38A0A958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760654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9" name="Espace réservé du texte 14">
            <a:extLst>
              <a:ext uri="{FF2B5EF4-FFF2-40B4-BE49-F238E27FC236}">
                <a16:creationId xmlns:a16="http://schemas.microsoft.com/office/drawing/2014/main" id="{CCC34425-40DA-F506-8846-6105F3AC1D2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748998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2BA00AE2-C86C-3D6D-92AA-E480DC9D0FE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920294159"/>
      </p:ext>
    </p:extLst>
  </p:cSld>
  <p:clrMapOvr>
    <a:masterClrMapping/>
  </p:clrMapOvr>
  <p:transition spd="slow"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1" name="Espace réservé de l'élément multimédia 10">
            <a:extLst>
              <a:ext uri="{FF2B5EF4-FFF2-40B4-BE49-F238E27FC236}">
                <a16:creationId xmlns:a16="http://schemas.microsoft.com/office/drawing/2014/main" id="{4345ECB7-0BD1-2615-17F4-F7F83AB072E4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0C12247A-5948-0FCF-AEE1-F51137CFB627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374253731"/>
      </p:ext>
    </p:extLst>
  </p:cSld>
  <p:clrMapOvr>
    <a:masterClrMapping/>
  </p:clrMapOvr>
  <p:transition spd="slow"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7BFA75F2-F59E-52B7-C96F-CB0C3E62B4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9803E514-510A-9012-E9F3-2DEA0C1AD84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654660026"/>
      </p:ext>
    </p:extLst>
  </p:cSld>
  <p:clrMapOvr>
    <a:masterClrMapping/>
  </p:clrMapOvr>
  <p:transition spd="slow"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Lib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>
            <a:lvl1pPr rtl="1">
              <a:defRPr lang="fr-MA" dirty="0"/>
            </a:lvl1pPr>
          </a:lstStyle>
          <a:p>
            <a:pPr lvl="0"/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1BB9A80-61E4-8F44-A39C-C9F0A149E4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615957095"/>
      </p:ext>
    </p:extLst>
  </p:cSld>
  <p:clrMapOvr>
    <a:masterClrMapping/>
  </p:clrMapOvr>
  <p:transition spd="slow"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 21">
            <a:extLst>
              <a:ext uri="{FF2B5EF4-FFF2-40B4-BE49-F238E27FC236}">
                <a16:creationId xmlns:a16="http://schemas.microsoft.com/office/drawing/2014/main" id="{630A277E-2BC7-C3E2-8989-08599FC0B94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87156" y="2240177"/>
            <a:ext cx="6169687" cy="1188823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3DC4AF98-2B3D-2D34-232F-CF1DDA6BA3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87156" y="3667318"/>
            <a:ext cx="6169687" cy="1207113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89AB1D0D-E890-7F0B-DAD8-7146D4ACACF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487156" y="5113317"/>
            <a:ext cx="6169687" cy="1201016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 rtl="1">
              <a:defRPr b="1"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25" name="Espace réservé du texte 13">
            <a:extLst>
              <a:ext uri="{FF2B5EF4-FFF2-40B4-BE49-F238E27FC236}">
                <a16:creationId xmlns:a16="http://schemas.microsoft.com/office/drawing/2014/main" id="{7D357DBE-F01D-F7D3-FEAE-6DB1B07395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68436" y="2621910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7" name="Espace réservé pour une image  26">
            <a:extLst>
              <a:ext uri="{FF2B5EF4-FFF2-40B4-BE49-F238E27FC236}">
                <a16:creationId xmlns:a16="http://schemas.microsoft.com/office/drawing/2014/main" id="{9C822516-F43E-BECF-7CFF-8A084DC2ACCA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7056000" y="2747910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8" name="Espace réservé du texte 13">
            <a:extLst>
              <a:ext uri="{FF2B5EF4-FFF2-40B4-BE49-F238E27FC236}">
                <a16:creationId xmlns:a16="http://schemas.microsoft.com/office/drawing/2014/main" id="{184F1AD3-1CDF-AC37-6E9B-7B8B5731D67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71774" y="4061170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9" name="Espace réservé pour une image  26">
            <a:extLst>
              <a:ext uri="{FF2B5EF4-FFF2-40B4-BE49-F238E27FC236}">
                <a16:creationId xmlns:a16="http://schemas.microsoft.com/office/drawing/2014/main" id="{C64E9BAC-B4A7-262E-6139-2754B01E6D77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056000" y="4183874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0" name="Espace réservé du texte 13">
            <a:extLst>
              <a:ext uri="{FF2B5EF4-FFF2-40B4-BE49-F238E27FC236}">
                <a16:creationId xmlns:a16="http://schemas.microsoft.com/office/drawing/2014/main" id="{3B1AE6D8-B704-87BC-C392-1092C3DAC2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68436" y="5516007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31" name="Espace réservé pour une image  26">
            <a:extLst>
              <a:ext uri="{FF2B5EF4-FFF2-40B4-BE49-F238E27FC236}">
                <a16:creationId xmlns:a16="http://schemas.microsoft.com/office/drawing/2014/main" id="{B26BF465-B4F4-3D7D-ACF6-20566B03F777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7056000" y="5642007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" name="Espace réservé pour une image  16">
            <a:extLst>
              <a:ext uri="{FF2B5EF4-FFF2-40B4-BE49-F238E27FC236}">
                <a16:creationId xmlns:a16="http://schemas.microsoft.com/office/drawing/2014/main" id="{9AA1E9B8-8D7E-91AE-321E-A93EF886D1A9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463073424"/>
      </p:ext>
    </p:extLst>
  </p:cSld>
  <p:clrMapOvr>
    <a:masterClrMapping/>
  </p:clrMapOvr>
  <p:transition spd="slow"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Masco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613" y="756000"/>
            <a:ext cx="6840000" cy="612000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2F159B12-62B7-22A2-9765-7264C5423C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7A344F50-A074-9EB5-2DAC-9BBA2096933C}"/>
              </a:ext>
            </a:extLst>
          </p:cNvPr>
          <p:cNvSpPr>
            <a:spLocks noGrp="1" noChangeAspect="1"/>
          </p:cNvSpPr>
          <p:nvPr>
            <p:ph type="media" sz="quarter" idx="13"/>
          </p:nvPr>
        </p:nvSpPr>
        <p:spPr>
          <a:xfrm>
            <a:off x="3255750" y="1584000"/>
            <a:ext cx="2632500" cy="4680000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15904787"/>
      </p:ext>
    </p:extLst>
  </p:cSld>
  <p:clrMapOvr>
    <a:masterClrMapping/>
  </p:clrMapOvr>
  <p:transition spd="slow"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Large Vidé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E091C94E-1B65-3089-5F06-AAE4424DF093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792000" y="2160000"/>
            <a:ext cx="7560000" cy="3960000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7598C516-D98D-DBF9-3F71-DFEB0161C87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526923716"/>
      </p:ext>
    </p:extLst>
  </p:cSld>
  <p:clrMapOvr>
    <a:masterClrMapping/>
  </p:clrMapOvr>
  <p:transition spd="slow"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Vidé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E091C94E-1B65-3089-5F06-AAE4424DF093}"/>
              </a:ext>
            </a:extLst>
          </p:cNvPr>
          <p:cNvSpPr>
            <a:spLocks noGrp="1" noChangeAspect="1"/>
          </p:cNvSpPr>
          <p:nvPr>
            <p:ph type="media" sz="quarter" idx="10"/>
          </p:nvPr>
        </p:nvSpPr>
        <p:spPr>
          <a:xfrm>
            <a:off x="1692000" y="2026860"/>
            <a:ext cx="5760000" cy="3017150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du texte 4">
            <a:extLst>
              <a:ext uri="{FF2B5EF4-FFF2-40B4-BE49-F238E27FC236}">
                <a16:creationId xmlns:a16="http://schemas.microsoft.com/office/drawing/2014/main" id="{9926949A-F877-393A-0235-737EC4E29E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91999" y="5400000"/>
            <a:ext cx="5760000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2800" b="1" kern="1200" cap="none" spc="0" dirty="0">
                <a:ln w="0"/>
                <a:solidFill>
                  <a:srgbClr val="474F71"/>
                </a:solidFill>
                <a:effectLst/>
                <a:latin typeface="Dosis" pitchFamily="2" charset="0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8" name="Espace réservé pour une image  16">
            <a:extLst>
              <a:ext uri="{FF2B5EF4-FFF2-40B4-BE49-F238E27FC236}">
                <a16:creationId xmlns:a16="http://schemas.microsoft.com/office/drawing/2014/main" id="{EEF34296-E850-0AEB-BB92-43EC46A1102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342820218"/>
      </p:ext>
    </p:extLst>
  </p:cSld>
  <p:clrMapOvr>
    <a:masterClrMapping/>
  </p:clrMapOvr>
  <p:transition spd="slow"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2">
            <a:extLst>
              <a:ext uri="{FF2B5EF4-FFF2-40B4-BE49-F238E27FC236}">
                <a16:creationId xmlns:a16="http://schemas.microsoft.com/office/drawing/2014/main" id="{C8528F83-9A65-C0AF-DA97-1526D668AC8E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1395438" y="2344003"/>
            <a:ext cx="2880000" cy="288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du texte 4">
            <a:extLst>
              <a:ext uri="{FF2B5EF4-FFF2-40B4-BE49-F238E27FC236}">
                <a16:creationId xmlns:a16="http://schemas.microsoft.com/office/drawing/2014/main" id="{993D7940-6B7C-F4DD-FCA1-A62E6F04A7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31055" y="3240000"/>
            <a:ext cx="3613875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5400" b="1" kern="1200" cap="none" spc="0" dirty="0">
                <a:ln w="0"/>
                <a:solidFill>
                  <a:srgbClr val="474F71"/>
                </a:solidFill>
                <a:effectLst/>
                <a:latin typeface="Dosis" pitchFamily="2" charset="0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9D132558-3F75-CB4C-D531-27315320B88F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285176755"/>
      </p:ext>
    </p:extLst>
  </p:cSld>
  <p:clrMapOvr>
    <a:masterClrMapping/>
  </p:clrMapOvr>
  <p:transition spd="slow"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  <a:lvl2pPr algn="r" rtl="1">
              <a:defRPr>
                <a:latin typeface="Microsoft Uighur" panose="02000000000000000000" pitchFamily="2" charset="-78"/>
              </a:defRPr>
            </a:lvl2pPr>
            <a:lvl3pPr algn="r" rtl="1">
              <a:defRPr>
                <a:latin typeface="Microsoft Uighur" panose="02000000000000000000" pitchFamily="2" charset="-78"/>
              </a:defRPr>
            </a:lvl3pPr>
            <a:lvl4pPr algn="r" rtl="1">
              <a:defRPr>
                <a:latin typeface="Microsoft Uighur" panose="02000000000000000000" pitchFamily="2" charset="-78"/>
              </a:defRPr>
            </a:lvl4pPr>
            <a:lvl5pPr algn="r" rtl="1">
              <a:defRPr>
                <a:latin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12" name="Espace réservé de l'élément multimédia 11">
            <a:extLst>
              <a:ext uri="{FF2B5EF4-FFF2-40B4-BE49-F238E27FC236}">
                <a16:creationId xmlns:a16="http://schemas.microsoft.com/office/drawing/2014/main" id="{F829FF4F-B5FF-57C3-494A-3084F0422CA9}"/>
              </a:ext>
            </a:extLst>
          </p:cNvPr>
          <p:cNvSpPr>
            <a:spLocks noGrp="1"/>
          </p:cNvSpPr>
          <p:nvPr>
            <p:ph type="media" sz="quarter" idx="14"/>
          </p:nvPr>
        </p:nvSpPr>
        <p:spPr>
          <a:xfrm>
            <a:off x="360000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E1E0570-45E7-D32C-C3AF-C520C3495AA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348974588"/>
      </p:ext>
    </p:extLst>
  </p:cSld>
  <p:clrMapOvr>
    <a:masterClrMapping/>
  </p:clrMapOvr>
  <p:transition spd="slow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21/11/202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15282574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  <a:lvl2pPr algn="r" rtl="1">
              <a:defRPr>
                <a:latin typeface="Microsoft Uighur" panose="02000000000000000000" pitchFamily="2" charset="-78"/>
              </a:defRPr>
            </a:lvl2pPr>
            <a:lvl3pPr algn="r" rtl="1">
              <a:defRPr>
                <a:latin typeface="Microsoft Uighur" panose="02000000000000000000" pitchFamily="2" charset="-78"/>
              </a:defRPr>
            </a:lvl3pPr>
            <a:lvl4pPr algn="r" rtl="1">
              <a:defRPr>
                <a:latin typeface="Microsoft Uighur" panose="02000000000000000000" pitchFamily="2" charset="-78"/>
              </a:defRPr>
            </a:lvl4pPr>
            <a:lvl5pPr algn="r" rtl="1">
              <a:defRPr>
                <a:latin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5" name="Espace réservé pour une image  4">
            <a:extLst>
              <a:ext uri="{FF2B5EF4-FFF2-40B4-BE49-F238E27FC236}">
                <a16:creationId xmlns:a16="http://schemas.microsoft.com/office/drawing/2014/main" id="{5D718CC0-0BDB-9947-CCFF-FF1A546B985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60045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85D16DE4-155A-6638-E7CE-E7A28AA4B608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517003987"/>
      </p:ext>
    </p:extLst>
  </p:cSld>
  <p:clrMapOvr>
    <a:masterClrMapping/>
  </p:clrMapOvr>
  <p:transition spd="slow"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3" name="Espace réservé pour une image  6">
            <a:extLst>
              <a:ext uri="{FF2B5EF4-FFF2-40B4-BE49-F238E27FC236}">
                <a16:creationId xmlns:a16="http://schemas.microsoft.com/office/drawing/2014/main" id="{6DBEF773-D41A-C770-09A2-4E95231BCEF2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4016173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6" name="Espace réservé pour une image  6">
            <a:extLst>
              <a:ext uri="{FF2B5EF4-FFF2-40B4-BE49-F238E27FC236}">
                <a16:creationId xmlns:a16="http://schemas.microsoft.com/office/drawing/2014/main" id="{7E603A45-15AE-F689-5C77-2638CD14111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016173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7" name="Espace réservé pour une image  6">
            <a:extLst>
              <a:ext uri="{FF2B5EF4-FFF2-40B4-BE49-F238E27FC236}">
                <a16:creationId xmlns:a16="http://schemas.microsoft.com/office/drawing/2014/main" id="{7A287785-23C6-809D-E732-3B10E73FF581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4016173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8" name="Espace réservé pour une image  6">
            <a:extLst>
              <a:ext uri="{FF2B5EF4-FFF2-40B4-BE49-F238E27FC236}">
                <a16:creationId xmlns:a16="http://schemas.microsoft.com/office/drawing/2014/main" id="{CAB978FA-F72D-651F-22D4-C77E74E59D59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5512359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9" name="Espace réservé pour une image  6">
            <a:extLst>
              <a:ext uri="{FF2B5EF4-FFF2-40B4-BE49-F238E27FC236}">
                <a16:creationId xmlns:a16="http://schemas.microsoft.com/office/drawing/2014/main" id="{A2C53014-67DF-ECB7-1756-F9962A42486C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5512359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0" name="Espace réservé pour une image  6">
            <a:extLst>
              <a:ext uri="{FF2B5EF4-FFF2-40B4-BE49-F238E27FC236}">
                <a16:creationId xmlns:a16="http://schemas.microsoft.com/office/drawing/2014/main" id="{831DC1D3-24B1-B160-E0F9-C7E35DA4E887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5512359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1" name="Espace réservé pour une image  6">
            <a:extLst>
              <a:ext uri="{FF2B5EF4-FFF2-40B4-BE49-F238E27FC236}">
                <a16:creationId xmlns:a16="http://schemas.microsoft.com/office/drawing/2014/main" id="{76695F17-301A-B0CF-5141-CF072746FE4A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008545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2" name="Espace réservé pour une image  6">
            <a:extLst>
              <a:ext uri="{FF2B5EF4-FFF2-40B4-BE49-F238E27FC236}">
                <a16:creationId xmlns:a16="http://schemas.microsoft.com/office/drawing/2014/main" id="{142B664B-C11B-6AA7-4A9C-0531048F6C3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008545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6">
            <a:extLst>
              <a:ext uri="{FF2B5EF4-FFF2-40B4-BE49-F238E27FC236}">
                <a16:creationId xmlns:a16="http://schemas.microsoft.com/office/drawing/2014/main" id="{6CB2D926-9334-B815-CB14-067B65BB32B5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7008545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de l'élément multimédia 4">
            <a:extLst>
              <a:ext uri="{FF2B5EF4-FFF2-40B4-BE49-F238E27FC236}">
                <a16:creationId xmlns:a16="http://schemas.microsoft.com/office/drawing/2014/main" id="{AC4130FF-D25A-0542-47B5-C8C15CA14464}"/>
              </a:ext>
            </a:extLst>
          </p:cNvPr>
          <p:cNvSpPr>
            <a:spLocks noGrp="1" noChangeAspect="1"/>
          </p:cNvSpPr>
          <p:nvPr>
            <p:ph type="media" sz="quarter" idx="29"/>
          </p:nvPr>
        </p:nvSpPr>
        <p:spPr>
          <a:xfrm>
            <a:off x="1224000" y="1806417"/>
            <a:ext cx="2628000" cy="468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1324D1A-D9D9-B5ED-B73D-27AA0C2A9866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05816598"/>
      </p:ext>
    </p:extLst>
  </p:cSld>
  <p:clrMapOvr>
    <a:masterClrMapping/>
  </p:clrMapOvr>
  <p:transition spd="slow"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3B76699B-E059-47DC-DE0E-BA72358357D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932019209"/>
      </p:ext>
    </p:extLst>
  </p:cSld>
  <p:clrMapOvr>
    <a:masterClrMapping/>
  </p:clrMapOvr>
  <p:transition spd="slow"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r"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44355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32697" y="4573417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210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809383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87FAFC7B-FA92-DE4F-26F0-9F5500C95015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262170987"/>
      </p:ext>
    </p:extLst>
  </p:cSld>
  <p:clrMapOvr>
    <a:masterClrMapping/>
  </p:clrMapOvr>
  <p:transition spd="slow"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479323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3759312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039301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79323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75931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39301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803C138-D469-2A4F-DFF7-7BDE3B1200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113159988"/>
      </p:ext>
    </p:extLst>
  </p:cSld>
  <p:clrMapOvr>
    <a:masterClrMapping/>
  </p:clrMapOvr>
  <p:transition spd="slow"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17628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7279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56931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26582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7628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7279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6931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6582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0D6A5E2-01C6-D590-C3C3-E3E3120C435F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657824986"/>
      </p:ext>
    </p:extLst>
  </p:cSld>
  <p:clrMapOvr>
    <a:masterClrMapping/>
  </p:clrMapOvr>
  <p:transition spd="slow"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35837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05489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75140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4792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837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05489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75140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4792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10ABAA10-5FC2-5899-38A7-DD016CAF6D6F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144439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du texte 14">
            <a:extLst>
              <a:ext uri="{FF2B5EF4-FFF2-40B4-BE49-F238E27FC236}">
                <a16:creationId xmlns:a16="http://schemas.microsoft.com/office/drawing/2014/main" id="{6D6969BD-245C-42EC-7085-CCC9CAE7B5D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144439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1" name="Espace réservé pour une image  16">
            <a:extLst>
              <a:ext uri="{FF2B5EF4-FFF2-40B4-BE49-F238E27FC236}">
                <a16:creationId xmlns:a16="http://schemas.microsoft.com/office/drawing/2014/main" id="{22CA7E9F-9679-5248-AEE2-BF953C8E64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769403181"/>
      </p:ext>
    </p:extLst>
  </p:cSld>
  <p:clrMapOvr>
    <a:masterClrMapping/>
  </p:clrMapOvr>
  <p:transition spd="slow"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0" name="Espace réservé pour une image  14">
            <a:extLst>
              <a:ext uri="{FF2B5EF4-FFF2-40B4-BE49-F238E27FC236}">
                <a16:creationId xmlns:a16="http://schemas.microsoft.com/office/drawing/2014/main" id="{F72B9DAC-5B26-3AA7-F1E9-7199F361C36B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1" name="Espace réservé pour une image  14">
            <a:extLst>
              <a:ext uri="{FF2B5EF4-FFF2-40B4-BE49-F238E27FC236}">
                <a16:creationId xmlns:a16="http://schemas.microsoft.com/office/drawing/2014/main" id="{6CAD6A59-FF09-83BD-CF55-048C618D77D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2" name="Espace réservé pour une image  14">
            <a:extLst>
              <a:ext uri="{FF2B5EF4-FFF2-40B4-BE49-F238E27FC236}">
                <a16:creationId xmlns:a16="http://schemas.microsoft.com/office/drawing/2014/main" id="{2270B6D3-B398-4D84-E776-FBEF7EA75FB9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3" name="Espace réservé pour une image  14">
            <a:extLst>
              <a:ext uri="{FF2B5EF4-FFF2-40B4-BE49-F238E27FC236}">
                <a16:creationId xmlns:a16="http://schemas.microsoft.com/office/drawing/2014/main" id="{5DBFF0BF-C86C-814E-B36F-BBBAA0F52754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4" name="Espace réservé pour une image  14">
            <a:extLst>
              <a:ext uri="{FF2B5EF4-FFF2-40B4-BE49-F238E27FC236}">
                <a16:creationId xmlns:a16="http://schemas.microsoft.com/office/drawing/2014/main" id="{E726AE8C-307B-2987-95A8-6F7E9A0252DE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12620F5-42B6-A595-4B8A-576787B826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946873569"/>
      </p:ext>
    </p:extLst>
  </p:cSld>
  <p:clrMapOvr>
    <a:masterClrMapping/>
  </p:clrMapOvr>
  <p:transition spd="slow"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90870748-DEBB-7999-E4EA-5505C8D576AB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347209086"/>
      </p:ext>
    </p:extLst>
  </p:cSld>
  <p:clrMapOvr>
    <a:masterClrMapping/>
  </p:clrMapOvr>
  <p:transition spd="slow"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3A90A1F0-EDD6-9649-9002-A9FD386E735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845467526"/>
      </p:ext>
    </p:extLst>
  </p:cSld>
  <p:clrMapOvr>
    <a:masterClrMapping/>
  </p:clrMapOvr>
  <p:transition spd="slow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21/11/202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2669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1AD089D0-4BDB-8D43-FA23-9FA976E0B15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704358242"/>
      </p:ext>
    </p:extLst>
  </p:cSld>
  <p:clrMapOvr>
    <a:masterClrMapping/>
  </p:clrMapOvr>
  <p:transition spd="slow"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6" name="Espace réservé du texte 14">
            <a:extLst>
              <a:ext uri="{FF2B5EF4-FFF2-40B4-BE49-F238E27FC236}">
                <a16:creationId xmlns:a16="http://schemas.microsoft.com/office/drawing/2014/main" id="{24C4BDD6-3530-4D8F-6435-7481BF63741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83970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7" name="Espace réservé du texte 14">
            <a:extLst>
              <a:ext uri="{FF2B5EF4-FFF2-40B4-BE49-F238E27FC236}">
                <a16:creationId xmlns:a16="http://schemas.microsoft.com/office/drawing/2014/main" id="{28318D23-D16D-A34E-43C5-131B2D3880D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772312" y="3662239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8" name="Espace réservé du texte 14">
            <a:extLst>
              <a:ext uri="{FF2B5EF4-FFF2-40B4-BE49-F238E27FC236}">
                <a16:creationId xmlns:a16="http://schemas.microsoft.com/office/drawing/2014/main" id="{47B1FA81-6AC5-8E1B-72FC-38B38A0A958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760654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9" name="Espace réservé du texte 14">
            <a:extLst>
              <a:ext uri="{FF2B5EF4-FFF2-40B4-BE49-F238E27FC236}">
                <a16:creationId xmlns:a16="http://schemas.microsoft.com/office/drawing/2014/main" id="{CCC34425-40DA-F506-8846-6105F3AC1D2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748998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2BA00AE2-C86C-3D6D-92AA-E480DC9D0FE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734458595"/>
      </p:ext>
    </p:extLst>
  </p:cSld>
  <p:clrMapOvr>
    <a:masterClrMapping/>
  </p:clrMapOvr>
  <p:transition spd="slow"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1" name="Espace réservé de l'élément multimédia 10">
            <a:extLst>
              <a:ext uri="{FF2B5EF4-FFF2-40B4-BE49-F238E27FC236}">
                <a16:creationId xmlns:a16="http://schemas.microsoft.com/office/drawing/2014/main" id="{4345ECB7-0BD1-2615-17F4-F7F83AB072E4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0C12247A-5948-0FCF-AEE1-F51137CFB627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628286848"/>
      </p:ext>
    </p:extLst>
  </p:cSld>
  <p:clrMapOvr>
    <a:masterClrMapping/>
  </p:clrMapOvr>
  <p:transition spd="slow"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7BFA75F2-F59E-52B7-C96F-CB0C3E62B4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9803E514-510A-9012-E9F3-2DEA0C1AD84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666481803"/>
      </p:ext>
    </p:extLst>
  </p:cSld>
  <p:clrMapOvr>
    <a:masterClrMapping/>
  </p:clrMapOvr>
  <p:transition spd="slow"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Lib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>
            <a:lvl1pPr rtl="1">
              <a:defRPr lang="fr-MA" dirty="0"/>
            </a:lvl1pPr>
          </a:lstStyle>
          <a:p>
            <a:pPr lvl="0"/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1BB9A80-61E4-8F44-A39C-C9F0A149E4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477724341"/>
      </p:ext>
    </p:extLst>
  </p:cSld>
  <p:clrMapOvr>
    <a:masterClrMapping/>
  </p:clrMapOvr>
  <p:transition spd="slow"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 21">
            <a:extLst>
              <a:ext uri="{FF2B5EF4-FFF2-40B4-BE49-F238E27FC236}">
                <a16:creationId xmlns:a16="http://schemas.microsoft.com/office/drawing/2014/main" id="{630A277E-2BC7-C3E2-8989-08599FC0B94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87156" y="2240177"/>
            <a:ext cx="6169687" cy="1188823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3DC4AF98-2B3D-2D34-232F-CF1DDA6BA3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87156" y="3667318"/>
            <a:ext cx="6169687" cy="1207113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89AB1D0D-E890-7F0B-DAD8-7146D4ACACF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487156" y="5113317"/>
            <a:ext cx="6169687" cy="1201016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 rtl="1">
              <a:defRPr b="1"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25" name="Espace réservé du texte 13">
            <a:extLst>
              <a:ext uri="{FF2B5EF4-FFF2-40B4-BE49-F238E27FC236}">
                <a16:creationId xmlns:a16="http://schemas.microsoft.com/office/drawing/2014/main" id="{7D357DBE-F01D-F7D3-FEAE-6DB1B07395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68436" y="2621910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7" name="Espace réservé pour une image  26">
            <a:extLst>
              <a:ext uri="{FF2B5EF4-FFF2-40B4-BE49-F238E27FC236}">
                <a16:creationId xmlns:a16="http://schemas.microsoft.com/office/drawing/2014/main" id="{9C822516-F43E-BECF-7CFF-8A084DC2ACCA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7056000" y="2747910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8" name="Espace réservé du texte 13">
            <a:extLst>
              <a:ext uri="{FF2B5EF4-FFF2-40B4-BE49-F238E27FC236}">
                <a16:creationId xmlns:a16="http://schemas.microsoft.com/office/drawing/2014/main" id="{184F1AD3-1CDF-AC37-6E9B-7B8B5731D67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71774" y="4061170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9" name="Espace réservé pour une image  26">
            <a:extLst>
              <a:ext uri="{FF2B5EF4-FFF2-40B4-BE49-F238E27FC236}">
                <a16:creationId xmlns:a16="http://schemas.microsoft.com/office/drawing/2014/main" id="{C64E9BAC-B4A7-262E-6139-2754B01E6D77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056000" y="4183874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0" name="Espace réservé du texte 13">
            <a:extLst>
              <a:ext uri="{FF2B5EF4-FFF2-40B4-BE49-F238E27FC236}">
                <a16:creationId xmlns:a16="http://schemas.microsoft.com/office/drawing/2014/main" id="{3B1AE6D8-B704-87BC-C392-1092C3DAC2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68436" y="5516007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31" name="Espace réservé pour une image  26">
            <a:extLst>
              <a:ext uri="{FF2B5EF4-FFF2-40B4-BE49-F238E27FC236}">
                <a16:creationId xmlns:a16="http://schemas.microsoft.com/office/drawing/2014/main" id="{B26BF465-B4F4-3D7D-ACF6-20566B03F777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7056000" y="5642007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" name="Espace réservé pour une image  16">
            <a:extLst>
              <a:ext uri="{FF2B5EF4-FFF2-40B4-BE49-F238E27FC236}">
                <a16:creationId xmlns:a16="http://schemas.microsoft.com/office/drawing/2014/main" id="{9AA1E9B8-8D7E-91AE-321E-A93EF886D1A9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578734535"/>
      </p:ext>
    </p:extLst>
  </p:cSld>
  <p:clrMapOvr>
    <a:masterClrMapping/>
  </p:clrMapOvr>
  <p:transition spd="slow"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4357CEDB-D7C0-6190-51B4-5912E1EF23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5126699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5EDC54C5-FB2A-6D1C-AC8A-C0BF2BDC3A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2159863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 rtl="1">
              <a:defRPr sz="4000" b="1"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774F252E-D349-CF92-A916-6A805163943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511543" y="3643281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B0F0">
                <a:alpha val="40000"/>
              </a:srgbClr>
            </a:outerShdw>
          </a:effectLst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A93635A3-1850-9582-694C-96DB620A940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2268000"/>
            <a:ext cx="544953" cy="540000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5DA5B341-DD51-7414-AFFF-5286B69C66DE}"/>
              </a:ext>
            </a:extLst>
          </p:cNvPr>
          <p:cNvSpPr txBox="1"/>
          <p:nvPr userDrawn="1"/>
        </p:nvSpPr>
        <p:spPr>
          <a:xfrm>
            <a:off x="2376000" y="2160000"/>
            <a:ext cx="27574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lvl="0" algn="r" rtl="1"/>
            <a:r>
              <a:rPr lang="fr-MA" dirty="0"/>
              <a:t>1. Présentation du Vocabulaire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3672000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7AA3FD7D-A058-EEFF-B5E0-B9773B884245}"/>
              </a:ext>
            </a:extLst>
          </p:cNvPr>
          <p:cNvSpPr txBox="1"/>
          <p:nvPr userDrawn="1"/>
        </p:nvSpPr>
        <p:spPr>
          <a:xfrm>
            <a:off x="2365719" y="3643281"/>
            <a:ext cx="27334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474F71"/>
                </a:solidFill>
                <a:latin typeface="Dosis ExtraBold" pitchFamily="2" charset="0"/>
              </a:defRPr>
            </a:lvl1pPr>
          </a:lstStyle>
          <a:p>
            <a:pPr lvl="0" algn="r" rtl="1"/>
            <a:r>
              <a:rPr lang="fr-MA" dirty="0"/>
              <a:t>2. Exploitation du Vocabulair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9EC8C79E-4B15-7487-6A1B-A73CF29122A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0340" y="5158300"/>
            <a:ext cx="540000" cy="418523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1E6DAA44-232F-53C1-0537-521982920F43}"/>
              </a:ext>
            </a:extLst>
          </p:cNvPr>
          <p:cNvSpPr txBox="1"/>
          <p:nvPr userDrawn="1"/>
        </p:nvSpPr>
        <p:spPr>
          <a:xfrm>
            <a:off x="2365719" y="5123575"/>
            <a:ext cx="179568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lvl="0" algn="r" rtl="1"/>
            <a:r>
              <a:rPr lang="fr-MA" dirty="0"/>
              <a:t>3. Travail sur livret</a:t>
            </a:r>
          </a:p>
        </p:txBody>
      </p:sp>
      <p:sp>
        <p:nvSpPr>
          <p:cNvPr id="6" name="Espace réservé pour une image  26">
            <a:extLst>
              <a:ext uri="{FF2B5EF4-FFF2-40B4-BE49-F238E27FC236}">
                <a16:creationId xmlns:a16="http://schemas.microsoft.com/office/drawing/2014/main" id="{FA15E7D4-4E24-20DC-DC31-FB1FD66404E2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 rot="1539327">
            <a:off x="7298796" y="2003629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id="{AB5B6BF7-7F16-3864-93ED-878A7E81FCF6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 rot="1539327">
            <a:off x="7298796" y="3473285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26">
            <a:extLst>
              <a:ext uri="{FF2B5EF4-FFF2-40B4-BE49-F238E27FC236}">
                <a16:creationId xmlns:a16="http://schemas.microsoft.com/office/drawing/2014/main" id="{72C83DB3-4158-81C2-DF0C-02358E6383D2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 rot="1539327">
            <a:off x="7298796" y="4958117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du texte 5">
            <a:extLst>
              <a:ext uri="{FF2B5EF4-FFF2-40B4-BE49-F238E27FC236}">
                <a16:creationId xmlns:a16="http://schemas.microsoft.com/office/drawing/2014/main" id="{FCB630B7-CE24-0E02-DF2E-6E0839F2254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201410" y="2544024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algn="r" rtl="1">
              <a:defRPr lang="fr-FR" sz="1200" dirty="0" smtClean="0">
                <a:solidFill>
                  <a:srgbClr val="757575"/>
                </a:solidFill>
                <a:latin typeface="Dosis SemiBold" pitchFamily="2" charset="0"/>
              </a:defRPr>
            </a:lvl1pPr>
            <a:lvl2pPr algn="r" rtl="1">
              <a:defRPr lang="fr-FR" sz="1100" dirty="0" smtClean="0">
                <a:solidFill>
                  <a:srgbClr val="757575"/>
                </a:solidFill>
                <a:latin typeface="Dosis SemiBold" pitchFamily="2" charset="0"/>
              </a:defRPr>
            </a:lvl2pPr>
          </a:lstStyle>
          <a:p>
            <a:pPr marL="266700" lvl="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Ð"/>
            </a:pPr>
            <a:r>
              <a:rPr lang="fr-FR" dirty="0"/>
              <a:t>Cliquez pour modifier les styles du texte du masque</a:t>
            </a:r>
          </a:p>
          <a:p>
            <a:pPr lvl="1">
              <a:lnSpc>
                <a:spcPct val="100000"/>
              </a:lnSpc>
              <a:spcBef>
                <a:spcPts val="300"/>
              </a:spcBef>
            </a:pPr>
            <a:r>
              <a:rPr lang="fr-FR" dirty="0"/>
              <a:t>Deuxième niveau</a:t>
            </a: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7ED25096-1652-CF94-A635-43A9EF75D40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201410" y="4025640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algn="r" rtl="1">
              <a:defRPr lang="fr-FR" sz="1200" dirty="0" smtClean="0">
                <a:solidFill>
                  <a:srgbClr val="474F71"/>
                </a:solidFill>
                <a:latin typeface="Dosis SemiBold" pitchFamily="2" charset="0"/>
              </a:defRPr>
            </a:lvl1pPr>
            <a:lvl2pPr algn="r" rtl="1">
              <a:defRPr lang="fr-FR" sz="1100" dirty="0" smtClean="0">
                <a:solidFill>
                  <a:srgbClr val="474F71"/>
                </a:solidFill>
                <a:latin typeface="Dosis SemiBold" pitchFamily="2" charset="0"/>
              </a:defRPr>
            </a:lvl2pPr>
          </a:lstStyle>
          <a:p>
            <a:pPr marL="266700" lvl="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Ð"/>
            </a:pPr>
            <a:r>
              <a:rPr lang="fr-FR" dirty="0"/>
              <a:t>Cliquez pour modifier les styles du texte du masque</a:t>
            </a:r>
          </a:p>
          <a:p>
            <a:pPr lvl="1">
              <a:lnSpc>
                <a:spcPct val="100000"/>
              </a:lnSpc>
              <a:spcBef>
                <a:spcPts val="300"/>
              </a:spcBef>
            </a:pPr>
            <a:r>
              <a:rPr lang="fr-FR" dirty="0"/>
              <a:t>Deuxième niveau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id="{87C29410-194A-A0FC-02AA-D45ED9C6D91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201410" y="5508429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Ð"/>
              <a:defRPr sz="1200">
                <a:solidFill>
                  <a:srgbClr val="757575"/>
                </a:solidFill>
                <a:latin typeface="Dosis SemiBold" pitchFamily="2" charset="0"/>
              </a:defRPr>
            </a:lvl1pPr>
            <a:lvl2pPr algn="r" rtl="1">
              <a:lnSpc>
                <a:spcPct val="100000"/>
              </a:lnSpc>
              <a:spcBef>
                <a:spcPts val="300"/>
              </a:spcBef>
              <a:defRPr sz="1100">
                <a:solidFill>
                  <a:srgbClr val="757575"/>
                </a:solidFill>
                <a:latin typeface="Dosis SemiBold" pitchFamily="2" charset="0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0C815ED3-0E84-E7A6-220F-EF5051A6B505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64252057"/>
      </p:ext>
    </p:extLst>
  </p:cSld>
  <p:clrMapOvr>
    <a:masterClrMapping/>
  </p:clrMapOvr>
  <p:transition spd="slow"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Masco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613" y="756000"/>
            <a:ext cx="6840000" cy="612000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2F159B12-62B7-22A2-9765-7264C5423C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7A344F50-A074-9EB5-2DAC-9BBA2096933C}"/>
              </a:ext>
            </a:extLst>
          </p:cNvPr>
          <p:cNvSpPr>
            <a:spLocks noGrp="1" noChangeAspect="1"/>
          </p:cNvSpPr>
          <p:nvPr>
            <p:ph type="media" sz="quarter" idx="13"/>
          </p:nvPr>
        </p:nvSpPr>
        <p:spPr>
          <a:xfrm>
            <a:off x="3255750" y="1584000"/>
            <a:ext cx="2632500" cy="4680000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909923405"/>
      </p:ext>
    </p:extLst>
  </p:cSld>
  <p:clrMapOvr>
    <a:masterClrMapping/>
  </p:clrMapOvr>
  <p:transition spd="slow"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Large Vidé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E091C94E-1B65-3089-5F06-AAE4424DF093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792000" y="2160000"/>
            <a:ext cx="7560000" cy="3960000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7598C516-D98D-DBF9-3F71-DFEB0161C87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04329905"/>
      </p:ext>
    </p:extLst>
  </p:cSld>
  <p:clrMapOvr>
    <a:masterClrMapping/>
  </p:clrMapOvr>
  <p:transition spd="slow">
    <p:fade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Vidé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E091C94E-1B65-3089-5F06-AAE4424DF093}"/>
              </a:ext>
            </a:extLst>
          </p:cNvPr>
          <p:cNvSpPr>
            <a:spLocks noGrp="1" noChangeAspect="1"/>
          </p:cNvSpPr>
          <p:nvPr>
            <p:ph type="media" sz="quarter" idx="10"/>
          </p:nvPr>
        </p:nvSpPr>
        <p:spPr>
          <a:xfrm>
            <a:off x="1692000" y="2026860"/>
            <a:ext cx="5760000" cy="3017150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du texte 4">
            <a:extLst>
              <a:ext uri="{FF2B5EF4-FFF2-40B4-BE49-F238E27FC236}">
                <a16:creationId xmlns:a16="http://schemas.microsoft.com/office/drawing/2014/main" id="{9926949A-F877-393A-0235-737EC4E29E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91999" y="5400000"/>
            <a:ext cx="5760000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2800" b="1" kern="1200" cap="none" spc="0" dirty="0">
                <a:ln w="0"/>
                <a:solidFill>
                  <a:srgbClr val="474F71"/>
                </a:solidFill>
                <a:effectLst/>
                <a:latin typeface="Dosis" pitchFamily="2" charset="0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8" name="Espace réservé pour une image  16">
            <a:extLst>
              <a:ext uri="{FF2B5EF4-FFF2-40B4-BE49-F238E27FC236}">
                <a16:creationId xmlns:a16="http://schemas.microsoft.com/office/drawing/2014/main" id="{EEF34296-E850-0AEB-BB92-43EC46A1102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234948691"/>
      </p:ext>
    </p:extLst>
  </p:cSld>
  <p:clrMapOvr>
    <a:masterClrMapping/>
  </p:clrMapOvr>
  <p:transition spd="slow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21/11/2025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5690034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2">
            <a:extLst>
              <a:ext uri="{FF2B5EF4-FFF2-40B4-BE49-F238E27FC236}">
                <a16:creationId xmlns:a16="http://schemas.microsoft.com/office/drawing/2014/main" id="{C8528F83-9A65-C0AF-DA97-1526D668AC8E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1395438" y="2344003"/>
            <a:ext cx="2880000" cy="288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du texte 4">
            <a:extLst>
              <a:ext uri="{FF2B5EF4-FFF2-40B4-BE49-F238E27FC236}">
                <a16:creationId xmlns:a16="http://schemas.microsoft.com/office/drawing/2014/main" id="{993D7940-6B7C-F4DD-FCA1-A62E6F04A7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31055" y="3240000"/>
            <a:ext cx="3613875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5400" b="1" kern="1200" cap="none" spc="0" dirty="0">
                <a:ln w="0"/>
                <a:solidFill>
                  <a:srgbClr val="474F71"/>
                </a:solidFill>
                <a:effectLst/>
                <a:latin typeface="Dosis" pitchFamily="2" charset="0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9D132558-3F75-CB4C-D531-27315320B88F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526885525"/>
      </p:ext>
    </p:extLst>
  </p:cSld>
  <p:clrMapOvr>
    <a:masterClrMapping/>
  </p:clrMapOvr>
  <p:transition spd="slow">
    <p:fade/>
  </p:transition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  <a:lvl2pPr algn="r" rtl="1">
              <a:defRPr>
                <a:latin typeface="Microsoft Uighur" panose="02000000000000000000" pitchFamily="2" charset="-78"/>
              </a:defRPr>
            </a:lvl2pPr>
            <a:lvl3pPr algn="r" rtl="1">
              <a:defRPr>
                <a:latin typeface="Microsoft Uighur" panose="02000000000000000000" pitchFamily="2" charset="-78"/>
              </a:defRPr>
            </a:lvl3pPr>
            <a:lvl4pPr algn="r" rtl="1">
              <a:defRPr>
                <a:latin typeface="Microsoft Uighur" panose="02000000000000000000" pitchFamily="2" charset="-78"/>
              </a:defRPr>
            </a:lvl4pPr>
            <a:lvl5pPr algn="r" rtl="1">
              <a:defRPr>
                <a:latin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12" name="Espace réservé de l'élément multimédia 11">
            <a:extLst>
              <a:ext uri="{FF2B5EF4-FFF2-40B4-BE49-F238E27FC236}">
                <a16:creationId xmlns:a16="http://schemas.microsoft.com/office/drawing/2014/main" id="{F829FF4F-B5FF-57C3-494A-3084F0422CA9}"/>
              </a:ext>
            </a:extLst>
          </p:cNvPr>
          <p:cNvSpPr>
            <a:spLocks noGrp="1"/>
          </p:cNvSpPr>
          <p:nvPr>
            <p:ph type="media" sz="quarter" idx="14"/>
          </p:nvPr>
        </p:nvSpPr>
        <p:spPr>
          <a:xfrm>
            <a:off x="360000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E1E0570-45E7-D32C-C3AF-C520C3495AA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12234606"/>
      </p:ext>
    </p:extLst>
  </p:cSld>
  <p:clrMapOvr>
    <a:masterClrMapping/>
  </p:clrMapOvr>
  <p:transition spd="slow">
    <p:fade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  <a:lvl2pPr algn="r" rtl="1">
              <a:defRPr>
                <a:latin typeface="Microsoft Uighur" panose="02000000000000000000" pitchFamily="2" charset="-78"/>
              </a:defRPr>
            </a:lvl2pPr>
            <a:lvl3pPr algn="r" rtl="1">
              <a:defRPr>
                <a:latin typeface="Microsoft Uighur" panose="02000000000000000000" pitchFamily="2" charset="-78"/>
              </a:defRPr>
            </a:lvl3pPr>
            <a:lvl4pPr algn="r" rtl="1">
              <a:defRPr>
                <a:latin typeface="Microsoft Uighur" panose="02000000000000000000" pitchFamily="2" charset="-78"/>
              </a:defRPr>
            </a:lvl4pPr>
            <a:lvl5pPr algn="r" rtl="1">
              <a:defRPr>
                <a:latin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5" name="Espace réservé pour une image  4">
            <a:extLst>
              <a:ext uri="{FF2B5EF4-FFF2-40B4-BE49-F238E27FC236}">
                <a16:creationId xmlns:a16="http://schemas.microsoft.com/office/drawing/2014/main" id="{5D718CC0-0BDB-9947-CCFF-FF1A546B985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60045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85D16DE4-155A-6638-E7CE-E7A28AA4B608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87868936"/>
      </p:ext>
    </p:extLst>
  </p:cSld>
  <p:clrMapOvr>
    <a:masterClrMapping/>
  </p:clrMapOvr>
  <p:transition spd="slow">
    <p:fade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3" name="Espace réservé pour une image  6">
            <a:extLst>
              <a:ext uri="{FF2B5EF4-FFF2-40B4-BE49-F238E27FC236}">
                <a16:creationId xmlns:a16="http://schemas.microsoft.com/office/drawing/2014/main" id="{6DBEF773-D41A-C770-09A2-4E95231BCEF2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4016173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6" name="Espace réservé pour une image  6">
            <a:extLst>
              <a:ext uri="{FF2B5EF4-FFF2-40B4-BE49-F238E27FC236}">
                <a16:creationId xmlns:a16="http://schemas.microsoft.com/office/drawing/2014/main" id="{7E603A45-15AE-F689-5C77-2638CD14111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016173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7" name="Espace réservé pour une image  6">
            <a:extLst>
              <a:ext uri="{FF2B5EF4-FFF2-40B4-BE49-F238E27FC236}">
                <a16:creationId xmlns:a16="http://schemas.microsoft.com/office/drawing/2014/main" id="{7A287785-23C6-809D-E732-3B10E73FF581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4016173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8" name="Espace réservé pour une image  6">
            <a:extLst>
              <a:ext uri="{FF2B5EF4-FFF2-40B4-BE49-F238E27FC236}">
                <a16:creationId xmlns:a16="http://schemas.microsoft.com/office/drawing/2014/main" id="{CAB978FA-F72D-651F-22D4-C77E74E59D59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5512359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9" name="Espace réservé pour une image  6">
            <a:extLst>
              <a:ext uri="{FF2B5EF4-FFF2-40B4-BE49-F238E27FC236}">
                <a16:creationId xmlns:a16="http://schemas.microsoft.com/office/drawing/2014/main" id="{A2C53014-67DF-ECB7-1756-F9962A42486C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5512359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0" name="Espace réservé pour une image  6">
            <a:extLst>
              <a:ext uri="{FF2B5EF4-FFF2-40B4-BE49-F238E27FC236}">
                <a16:creationId xmlns:a16="http://schemas.microsoft.com/office/drawing/2014/main" id="{831DC1D3-24B1-B160-E0F9-C7E35DA4E887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5512359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1" name="Espace réservé pour une image  6">
            <a:extLst>
              <a:ext uri="{FF2B5EF4-FFF2-40B4-BE49-F238E27FC236}">
                <a16:creationId xmlns:a16="http://schemas.microsoft.com/office/drawing/2014/main" id="{76695F17-301A-B0CF-5141-CF072746FE4A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008545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2" name="Espace réservé pour une image  6">
            <a:extLst>
              <a:ext uri="{FF2B5EF4-FFF2-40B4-BE49-F238E27FC236}">
                <a16:creationId xmlns:a16="http://schemas.microsoft.com/office/drawing/2014/main" id="{142B664B-C11B-6AA7-4A9C-0531048F6C3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008545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6">
            <a:extLst>
              <a:ext uri="{FF2B5EF4-FFF2-40B4-BE49-F238E27FC236}">
                <a16:creationId xmlns:a16="http://schemas.microsoft.com/office/drawing/2014/main" id="{6CB2D926-9334-B815-CB14-067B65BB32B5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7008545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de l'élément multimédia 4">
            <a:extLst>
              <a:ext uri="{FF2B5EF4-FFF2-40B4-BE49-F238E27FC236}">
                <a16:creationId xmlns:a16="http://schemas.microsoft.com/office/drawing/2014/main" id="{AC4130FF-D25A-0542-47B5-C8C15CA14464}"/>
              </a:ext>
            </a:extLst>
          </p:cNvPr>
          <p:cNvSpPr>
            <a:spLocks noGrp="1" noChangeAspect="1"/>
          </p:cNvSpPr>
          <p:nvPr>
            <p:ph type="media" sz="quarter" idx="29"/>
          </p:nvPr>
        </p:nvSpPr>
        <p:spPr>
          <a:xfrm>
            <a:off x="1224000" y="1806417"/>
            <a:ext cx="2628000" cy="468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1324D1A-D9D9-B5ED-B73D-27AA0C2A9866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737740943"/>
      </p:ext>
    </p:extLst>
  </p:cSld>
  <p:clrMapOvr>
    <a:masterClrMapping/>
  </p:clrMapOvr>
  <p:transition spd="slow"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3B76699B-E059-47DC-DE0E-BA72358357D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467149154"/>
      </p:ext>
    </p:extLst>
  </p:cSld>
  <p:clrMapOvr>
    <a:masterClrMapping/>
  </p:clrMapOvr>
  <p:transition spd="slow">
    <p:fade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r"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44355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32697" y="4573417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210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809383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87FAFC7B-FA92-DE4F-26F0-9F5500C95015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368259676"/>
      </p:ext>
    </p:extLst>
  </p:cSld>
  <p:clrMapOvr>
    <a:masterClrMapping/>
  </p:clrMapOvr>
  <p:transition spd="slow">
    <p:fad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479323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3759312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039301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79323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75931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39301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803C138-D469-2A4F-DFF7-7BDE3B1200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45947881"/>
      </p:ext>
    </p:extLst>
  </p:cSld>
  <p:clrMapOvr>
    <a:masterClrMapping/>
  </p:clrMapOvr>
  <p:transition spd="slow">
    <p:fad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17628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7279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56931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26582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7628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7279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6931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6582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0D6A5E2-01C6-D590-C3C3-E3E3120C435F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078035056"/>
      </p:ext>
    </p:extLst>
  </p:cSld>
  <p:clrMapOvr>
    <a:masterClrMapping/>
  </p:clrMapOvr>
  <p:transition spd="slow"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35837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05489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75140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4792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837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05489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75140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4792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10ABAA10-5FC2-5899-38A7-DD016CAF6D6F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144439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du texte 14">
            <a:extLst>
              <a:ext uri="{FF2B5EF4-FFF2-40B4-BE49-F238E27FC236}">
                <a16:creationId xmlns:a16="http://schemas.microsoft.com/office/drawing/2014/main" id="{6D6969BD-245C-42EC-7085-CCC9CAE7B5D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144439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1" name="Espace réservé pour une image  16">
            <a:extLst>
              <a:ext uri="{FF2B5EF4-FFF2-40B4-BE49-F238E27FC236}">
                <a16:creationId xmlns:a16="http://schemas.microsoft.com/office/drawing/2014/main" id="{22CA7E9F-9679-5248-AEE2-BF953C8E64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682257568"/>
      </p:ext>
    </p:extLst>
  </p:cSld>
  <p:clrMapOvr>
    <a:masterClrMapping/>
  </p:clrMapOvr>
  <p:transition spd="slow"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0" name="Espace réservé pour une image  14">
            <a:extLst>
              <a:ext uri="{FF2B5EF4-FFF2-40B4-BE49-F238E27FC236}">
                <a16:creationId xmlns:a16="http://schemas.microsoft.com/office/drawing/2014/main" id="{F72B9DAC-5B26-3AA7-F1E9-7199F361C36B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1" name="Espace réservé pour une image  14">
            <a:extLst>
              <a:ext uri="{FF2B5EF4-FFF2-40B4-BE49-F238E27FC236}">
                <a16:creationId xmlns:a16="http://schemas.microsoft.com/office/drawing/2014/main" id="{6CAD6A59-FF09-83BD-CF55-048C618D77D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2" name="Espace réservé pour une image  14">
            <a:extLst>
              <a:ext uri="{FF2B5EF4-FFF2-40B4-BE49-F238E27FC236}">
                <a16:creationId xmlns:a16="http://schemas.microsoft.com/office/drawing/2014/main" id="{2270B6D3-B398-4D84-E776-FBEF7EA75FB9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3" name="Espace réservé pour une image  14">
            <a:extLst>
              <a:ext uri="{FF2B5EF4-FFF2-40B4-BE49-F238E27FC236}">
                <a16:creationId xmlns:a16="http://schemas.microsoft.com/office/drawing/2014/main" id="{5DBFF0BF-C86C-814E-B36F-BBBAA0F52754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4" name="Espace réservé pour une image  14">
            <a:extLst>
              <a:ext uri="{FF2B5EF4-FFF2-40B4-BE49-F238E27FC236}">
                <a16:creationId xmlns:a16="http://schemas.microsoft.com/office/drawing/2014/main" id="{E726AE8C-307B-2987-95A8-6F7E9A0252DE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12620F5-42B6-A595-4B8A-576787B826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253032989"/>
      </p:ext>
    </p:extLst>
  </p:cSld>
  <p:clrMapOvr>
    <a:masterClrMapping/>
  </p:clrMapOvr>
  <p:transition spd="slow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21/11/2025</a:t>
            </a:fld>
            <a:endParaRPr lang="fr-F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71383268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90870748-DEBB-7999-E4EA-5505C8D576AB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623428973"/>
      </p:ext>
    </p:extLst>
  </p:cSld>
  <p:clrMapOvr>
    <a:masterClrMapping/>
  </p:clrMapOvr>
  <p:transition spd="slow"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3A90A1F0-EDD6-9649-9002-A9FD386E735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342432562"/>
      </p:ext>
    </p:extLst>
  </p:cSld>
  <p:clrMapOvr>
    <a:masterClrMapping/>
  </p:clrMapOvr>
  <p:transition spd="slow"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1AD089D0-4BDB-8D43-FA23-9FA976E0B15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114751846"/>
      </p:ext>
    </p:extLst>
  </p:cSld>
  <p:clrMapOvr>
    <a:masterClrMapping/>
  </p:clrMapOvr>
  <p:transition spd="slow">
    <p:fad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6" name="Espace réservé du texte 14">
            <a:extLst>
              <a:ext uri="{FF2B5EF4-FFF2-40B4-BE49-F238E27FC236}">
                <a16:creationId xmlns:a16="http://schemas.microsoft.com/office/drawing/2014/main" id="{24C4BDD6-3530-4D8F-6435-7481BF63741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83970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7" name="Espace réservé du texte 14">
            <a:extLst>
              <a:ext uri="{FF2B5EF4-FFF2-40B4-BE49-F238E27FC236}">
                <a16:creationId xmlns:a16="http://schemas.microsoft.com/office/drawing/2014/main" id="{28318D23-D16D-A34E-43C5-131B2D3880D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772312" y="3662239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8" name="Espace réservé du texte 14">
            <a:extLst>
              <a:ext uri="{FF2B5EF4-FFF2-40B4-BE49-F238E27FC236}">
                <a16:creationId xmlns:a16="http://schemas.microsoft.com/office/drawing/2014/main" id="{47B1FA81-6AC5-8E1B-72FC-38B38A0A958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760654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9" name="Espace réservé du texte 14">
            <a:extLst>
              <a:ext uri="{FF2B5EF4-FFF2-40B4-BE49-F238E27FC236}">
                <a16:creationId xmlns:a16="http://schemas.microsoft.com/office/drawing/2014/main" id="{CCC34425-40DA-F506-8846-6105F3AC1D2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748998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2BA00AE2-C86C-3D6D-92AA-E480DC9D0FE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925525249"/>
      </p:ext>
    </p:extLst>
  </p:cSld>
  <p:clrMapOvr>
    <a:masterClrMapping/>
  </p:clrMapOvr>
  <p:transition spd="slow"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1" name="Espace réservé de l'élément multimédia 10">
            <a:extLst>
              <a:ext uri="{FF2B5EF4-FFF2-40B4-BE49-F238E27FC236}">
                <a16:creationId xmlns:a16="http://schemas.microsoft.com/office/drawing/2014/main" id="{4345ECB7-0BD1-2615-17F4-F7F83AB072E4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0C12247A-5948-0FCF-AEE1-F51137CFB627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32863786"/>
      </p:ext>
    </p:extLst>
  </p:cSld>
  <p:clrMapOvr>
    <a:masterClrMapping/>
  </p:clrMapOvr>
  <p:transition spd="slow"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7BFA75F2-F59E-52B7-C96F-CB0C3E62B4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9803E514-510A-9012-E9F3-2DEA0C1AD84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793532751"/>
      </p:ext>
    </p:extLst>
  </p:cSld>
  <p:clrMapOvr>
    <a:masterClrMapping/>
  </p:clrMapOvr>
  <p:transition spd="slow">
    <p:fad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Lib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>
            <a:lvl1pPr rtl="1">
              <a:defRPr lang="fr-MA" dirty="0"/>
            </a:lvl1pPr>
          </a:lstStyle>
          <a:p>
            <a:pPr lvl="0"/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1BB9A80-61E4-8F44-A39C-C9F0A149E4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217457203"/>
      </p:ext>
    </p:extLst>
  </p:cSld>
  <p:clrMapOvr>
    <a:masterClrMapping/>
  </p:clrMapOvr>
  <p:transition spd="slow"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 21">
            <a:extLst>
              <a:ext uri="{FF2B5EF4-FFF2-40B4-BE49-F238E27FC236}">
                <a16:creationId xmlns:a16="http://schemas.microsoft.com/office/drawing/2014/main" id="{630A277E-2BC7-C3E2-8989-08599FC0B94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87156" y="2240177"/>
            <a:ext cx="6169687" cy="1188823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3DC4AF98-2B3D-2D34-232F-CF1DDA6BA3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87156" y="3667318"/>
            <a:ext cx="6169687" cy="1207113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89AB1D0D-E890-7F0B-DAD8-7146D4ACACF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487156" y="5113317"/>
            <a:ext cx="6169687" cy="1201016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 rtl="1">
              <a:defRPr b="1"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25" name="Espace réservé du texte 13">
            <a:extLst>
              <a:ext uri="{FF2B5EF4-FFF2-40B4-BE49-F238E27FC236}">
                <a16:creationId xmlns:a16="http://schemas.microsoft.com/office/drawing/2014/main" id="{7D357DBE-F01D-F7D3-FEAE-6DB1B07395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68436" y="2621910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7" name="Espace réservé pour une image  26">
            <a:extLst>
              <a:ext uri="{FF2B5EF4-FFF2-40B4-BE49-F238E27FC236}">
                <a16:creationId xmlns:a16="http://schemas.microsoft.com/office/drawing/2014/main" id="{9C822516-F43E-BECF-7CFF-8A084DC2ACCA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7056000" y="2747910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8" name="Espace réservé du texte 13">
            <a:extLst>
              <a:ext uri="{FF2B5EF4-FFF2-40B4-BE49-F238E27FC236}">
                <a16:creationId xmlns:a16="http://schemas.microsoft.com/office/drawing/2014/main" id="{184F1AD3-1CDF-AC37-6E9B-7B8B5731D67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71774" y="4061170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9" name="Espace réservé pour une image  26">
            <a:extLst>
              <a:ext uri="{FF2B5EF4-FFF2-40B4-BE49-F238E27FC236}">
                <a16:creationId xmlns:a16="http://schemas.microsoft.com/office/drawing/2014/main" id="{C64E9BAC-B4A7-262E-6139-2754B01E6D77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056000" y="4183874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0" name="Espace réservé du texte 13">
            <a:extLst>
              <a:ext uri="{FF2B5EF4-FFF2-40B4-BE49-F238E27FC236}">
                <a16:creationId xmlns:a16="http://schemas.microsoft.com/office/drawing/2014/main" id="{3B1AE6D8-B704-87BC-C392-1092C3DAC2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68436" y="5516007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31" name="Espace réservé pour une image  26">
            <a:extLst>
              <a:ext uri="{FF2B5EF4-FFF2-40B4-BE49-F238E27FC236}">
                <a16:creationId xmlns:a16="http://schemas.microsoft.com/office/drawing/2014/main" id="{B26BF465-B4F4-3D7D-ACF6-20566B03F777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7056000" y="5642007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" name="Espace réservé pour une image  16">
            <a:extLst>
              <a:ext uri="{FF2B5EF4-FFF2-40B4-BE49-F238E27FC236}">
                <a16:creationId xmlns:a16="http://schemas.microsoft.com/office/drawing/2014/main" id="{9AA1E9B8-8D7E-91AE-321E-A93EF886D1A9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386812636"/>
      </p:ext>
    </p:extLst>
  </p:cSld>
  <p:clrMapOvr>
    <a:masterClrMapping/>
  </p:clrMapOvr>
  <p:transition spd="slow">
    <p:fad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4357CEDB-D7C0-6190-51B4-5912E1EF23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5126699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5EDC54C5-FB2A-6D1C-AC8A-C0BF2BDC3A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2159863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 rtl="1">
              <a:defRPr sz="4000" b="1"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774F252E-D349-CF92-A916-6A805163943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511543" y="3643281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B0F0">
                <a:alpha val="40000"/>
              </a:srgbClr>
            </a:outerShdw>
          </a:effectLst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A93635A3-1850-9582-694C-96DB620A940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2268000"/>
            <a:ext cx="544953" cy="540000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5DA5B341-DD51-7414-AFFF-5286B69C66DE}"/>
              </a:ext>
            </a:extLst>
          </p:cNvPr>
          <p:cNvSpPr txBox="1"/>
          <p:nvPr userDrawn="1"/>
        </p:nvSpPr>
        <p:spPr>
          <a:xfrm>
            <a:off x="2376000" y="2160000"/>
            <a:ext cx="27574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lvl="0" algn="r" rtl="1"/>
            <a:r>
              <a:rPr lang="fr-MA" dirty="0"/>
              <a:t>1. Présentation du Vocabulaire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3672000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7AA3FD7D-A058-EEFF-B5E0-B9773B884245}"/>
              </a:ext>
            </a:extLst>
          </p:cNvPr>
          <p:cNvSpPr txBox="1"/>
          <p:nvPr userDrawn="1"/>
        </p:nvSpPr>
        <p:spPr>
          <a:xfrm>
            <a:off x="2365719" y="3643281"/>
            <a:ext cx="27334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474F71"/>
                </a:solidFill>
                <a:latin typeface="Dosis ExtraBold" pitchFamily="2" charset="0"/>
              </a:defRPr>
            </a:lvl1pPr>
          </a:lstStyle>
          <a:p>
            <a:pPr lvl="0" algn="r" rtl="1"/>
            <a:r>
              <a:rPr lang="fr-MA" dirty="0"/>
              <a:t>2. Exploitation du Vocabulair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9EC8C79E-4B15-7487-6A1B-A73CF29122A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0340" y="5158300"/>
            <a:ext cx="540000" cy="418523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1E6DAA44-232F-53C1-0537-521982920F43}"/>
              </a:ext>
            </a:extLst>
          </p:cNvPr>
          <p:cNvSpPr txBox="1"/>
          <p:nvPr userDrawn="1"/>
        </p:nvSpPr>
        <p:spPr>
          <a:xfrm>
            <a:off x="2365719" y="5123575"/>
            <a:ext cx="179568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lvl="0" algn="r" rtl="1"/>
            <a:r>
              <a:rPr lang="fr-MA" dirty="0"/>
              <a:t>3. Travail sur livret</a:t>
            </a:r>
          </a:p>
        </p:txBody>
      </p:sp>
      <p:sp>
        <p:nvSpPr>
          <p:cNvPr id="6" name="Espace réservé pour une image  26">
            <a:extLst>
              <a:ext uri="{FF2B5EF4-FFF2-40B4-BE49-F238E27FC236}">
                <a16:creationId xmlns:a16="http://schemas.microsoft.com/office/drawing/2014/main" id="{FA15E7D4-4E24-20DC-DC31-FB1FD66404E2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 rot="1539327">
            <a:off x="7298796" y="2003629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id="{AB5B6BF7-7F16-3864-93ED-878A7E81FCF6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 rot="1539327">
            <a:off x="7298796" y="3473285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26">
            <a:extLst>
              <a:ext uri="{FF2B5EF4-FFF2-40B4-BE49-F238E27FC236}">
                <a16:creationId xmlns:a16="http://schemas.microsoft.com/office/drawing/2014/main" id="{72C83DB3-4158-81C2-DF0C-02358E6383D2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 rot="1539327">
            <a:off x="7298796" y="4958117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du texte 5">
            <a:extLst>
              <a:ext uri="{FF2B5EF4-FFF2-40B4-BE49-F238E27FC236}">
                <a16:creationId xmlns:a16="http://schemas.microsoft.com/office/drawing/2014/main" id="{FCB630B7-CE24-0E02-DF2E-6E0839F2254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201410" y="2544024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algn="r" rtl="1">
              <a:defRPr lang="fr-FR" sz="1200" dirty="0" smtClean="0">
                <a:solidFill>
                  <a:srgbClr val="757575"/>
                </a:solidFill>
                <a:latin typeface="Dosis SemiBold" pitchFamily="2" charset="0"/>
              </a:defRPr>
            </a:lvl1pPr>
            <a:lvl2pPr algn="r" rtl="1">
              <a:defRPr lang="fr-FR" sz="1100" dirty="0" smtClean="0">
                <a:solidFill>
                  <a:srgbClr val="757575"/>
                </a:solidFill>
                <a:latin typeface="Dosis SemiBold" pitchFamily="2" charset="0"/>
              </a:defRPr>
            </a:lvl2pPr>
          </a:lstStyle>
          <a:p>
            <a:pPr marL="266700" lvl="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Ð"/>
            </a:pPr>
            <a:r>
              <a:rPr lang="fr-FR" dirty="0"/>
              <a:t>Cliquez pour modifier les styles du texte du masque</a:t>
            </a:r>
          </a:p>
          <a:p>
            <a:pPr lvl="1">
              <a:lnSpc>
                <a:spcPct val="100000"/>
              </a:lnSpc>
              <a:spcBef>
                <a:spcPts val="300"/>
              </a:spcBef>
            </a:pPr>
            <a:r>
              <a:rPr lang="fr-FR" dirty="0"/>
              <a:t>Deuxième niveau</a:t>
            </a: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7ED25096-1652-CF94-A635-43A9EF75D40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201410" y="4025640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algn="r" rtl="1">
              <a:defRPr lang="fr-FR" sz="1200" dirty="0" smtClean="0">
                <a:solidFill>
                  <a:srgbClr val="474F71"/>
                </a:solidFill>
                <a:latin typeface="Dosis SemiBold" pitchFamily="2" charset="0"/>
              </a:defRPr>
            </a:lvl1pPr>
            <a:lvl2pPr algn="r" rtl="1">
              <a:defRPr lang="fr-FR" sz="1100" dirty="0" smtClean="0">
                <a:solidFill>
                  <a:srgbClr val="474F71"/>
                </a:solidFill>
                <a:latin typeface="Dosis SemiBold" pitchFamily="2" charset="0"/>
              </a:defRPr>
            </a:lvl2pPr>
          </a:lstStyle>
          <a:p>
            <a:pPr marL="266700" lvl="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Ð"/>
            </a:pPr>
            <a:r>
              <a:rPr lang="fr-FR" dirty="0"/>
              <a:t>Cliquez pour modifier les styles du texte du masque</a:t>
            </a:r>
          </a:p>
          <a:p>
            <a:pPr lvl="1">
              <a:lnSpc>
                <a:spcPct val="100000"/>
              </a:lnSpc>
              <a:spcBef>
                <a:spcPts val="300"/>
              </a:spcBef>
            </a:pPr>
            <a:r>
              <a:rPr lang="fr-FR" dirty="0"/>
              <a:t>Deuxième niveau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id="{87C29410-194A-A0FC-02AA-D45ED9C6D91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201410" y="5508429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Ð"/>
              <a:defRPr sz="1200">
                <a:solidFill>
                  <a:srgbClr val="757575"/>
                </a:solidFill>
                <a:latin typeface="Dosis SemiBold" pitchFamily="2" charset="0"/>
              </a:defRPr>
            </a:lvl1pPr>
            <a:lvl2pPr algn="r" rtl="1">
              <a:lnSpc>
                <a:spcPct val="100000"/>
              </a:lnSpc>
              <a:spcBef>
                <a:spcPts val="300"/>
              </a:spcBef>
              <a:defRPr sz="1100">
                <a:solidFill>
                  <a:srgbClr val="757575"/>
                </a:solidFill>
                <a:latin typeface="Dosis SemiBold" pitchFamily="2" charset="0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0C815ED3-0E84-E7A6-220F-EF5051A6B505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019905579"/>
      </p:ext>
    </p:extLst>
  </p:cSld>
  <p:clrMapOvr>
    <a:masterClrMapping/>
  </p:clrMapOvr>
  <p:transition spd="slow">
    <p:fad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0_Titre et contenu libr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615686-FD6D-D9AF-A708-1A5B6B3571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950012"/>
            <a:ext cx="7886700" cy="720000"/>
          </a:xfrm>
          <a:prstGeom prst="rect">
            <a:avLst/>
          </a:prstGeom>
        </p:spPr>
        <p:txBody>
          <a:bodyPr anchor="ctr"/>
          <a:lstStyle>
            <a:lvl1pPr algn="ctr" rtl="1">
              <a:defRPr sz="40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51038066"/>
      </p:ext>
    </p:extLst>
  </p:cSld>
  <p:clrMapOvr>
    <a:masterClrMapping/>
  </p:clrMapOvr>
  <p:transition spd="slow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21/11/2025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41079888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Masco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615" y="756000"/>
            <a:ext cx="6840000" cy="612000"/>
          </a:xfrm>
        </p:spPr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2F159B12-62B7-22A2-9765-7264C5423C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45766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contenu 6">
            <a:extLst>
              <a:ext uri="{FF2B5EF4-FFF2-40B4-BE49-F238E27FC236}">
                <a16:creationId xmlns:a16="http://schemas.microsoft.com/office/drawing/2014/main" id="{44147A9C-D420-131A-541B-25D8B7E39B65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3515834" y="1800000"/>
            <a:ext cx="2318436" cy="4140064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  <a:lvl2pPr algn="r" rtl="1">
              <a:defRPr>
                <a:latin typeface="Microsoft Uighur" panose="02000000000000000000" pitchFamily="2" charset="-78"/>
              </a:defRPr>
            </a:lvl2pPr>
            <a:lvl3pPr algn="r" rtl="1">
              <a:defRPr>
                <a:latin typeface="Microsoft Uighur" panose="02000000000000000000" pitchFamily="2" charset="-78"/>
              </a:defRPr>
            </a:lvl3pPr>
            <a:lvl4pPr algn="r" rtl="1">
              <a:defRPr>
                <a:latin typeface="Microsoft Uighur" panose="02000000000000000000" pitchFamily="2" charset="-78"/>
              </a:defRPr>
            </a:lvl4pPr>
            <a:lvl5pPr algn="r" rtl="1">
              <a:defRPr>
                <a:latin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24814982"/>
      </p:ext>
    </p:extLst>
  </p:cSld>
  <p:clrMapOvr>
    <a:masterClrMapping/>
  </p:clrMapOvr>
  <p:transition spd="slow">
    <p:fade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Large Vidé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rtl="1">
              <a:defRPr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E091C94E-1B65-3089-5F06-AAE4424DF093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792000" y="2160000"/>
            <a:ext cx="7560000" cy="396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857BAC0B-AC65-BD61-1B0C-5A8010C4074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977098112"/>
      </p:ext>
    </p:extLst>
  </p:cSld>
  <p:clrMapOvr>
    <a:masterClrMapping/>
  </p:clrMapOvr>
  <p:transition spd="slow"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Vidé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rtl="1">
              <a:defRPr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E091C94E-1B65-3089-5F06-AAE4424DF093}"/>
              </a:ext>
            </a:extLst>
          </p:cNvPr>
          <p:cNvSpPr>
            <a:spLocks noGrp="1" noChangeAspect="1"/>
          </p:cNvSpPr>
          <p:nvPr>
            <p:ph type="media" sz="quarter" idx="10"/>
          </p:nvPr>
        </p:nvSpPr>
        <p:spPr>
          <a:xfrm>
            <a:off x="1692000" y="2026860"/>
            <a:ext cx="5760000" cy="301715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du texte 4">
            <a:extLst>
              <a:ext uri="{FF2B5EF4-FFF2-40B4-BE49-F238E27FC236}">
                <a16:creationId xmlns:a16="http://schemas.microsoft.com/office/drawing/2014/main" id="{9926949A-F877-393A-0235-737EC4E29E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91999" y="5400000"/>
            <a:ext cx="5760000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2800" b="1" kern="1200" cap="none" spc="0" dirty="0">
                <a:ln w="0"/>
                <a:solidFill>
                  <a:srgbClr val="565F88"/>
                </a:solidFill>
                <a:effectLst/>
                <a:latin typeface="Microsoft Uighur" panose="02000000000000000000" pitchFamily="2" charset="-78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6" name="Espace réservé pour une image  16">
            <a:extLst>
              <a:ext uri="{FF2B5EF4-FFF2-40B4-BE49-F238E27FC236}">
                <a16:creationId xmlns:a16="http://schemas.microsoft.com/office/drawing/2014/main" id="{F07865AF-0218-DA63-49A3-7D88763D3E45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906952089"/>
      </p:ext>
    </p:extLst>
  </p:cSld>
  <p:clrMapOvr>
    <a:masterClrMapping/>
  </p:clrMapOvr>
  <p:transition spd="slow">
    <p:fade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2">
            <a:extLst>
              <a:ext uri="{FF2B5EF4-FFF2-40B4-BE49-F238E27FC236}">
                <a16:creationId xmlns:a16="http://schemas.microsoft.com/office/drawing/2014/main" id="{C8528F83-9A65-C0AF-DA97-1526D668AC8E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1672207" y="2160000"/>
            <a:ext cx="2899793" cy="2899793"/>
          </a:xfrm>
          <a:prstGeom prst="round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du texte 4">
            <a:extLst>
              <a:ext uri="{FF2B5EF4-FFF2-40B4-BE49-F238E27FC236}">
                <a16:creationId xmlns:a16="http://schemas.microsoft.com/office/drawing/2014/main" id="{993D7940-6B7C-F4DD-FCA1-A62E6F04A7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31056" y="3240000"/>
            <a:ext cx="3116990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4400" b="1" kern="1200" cap="none" spc="0" dirty="0">
                <a:ln w="0"/>
                <a:solidFill>
                  <a:srgbClr val="565F88"/>
                </a:solidFill>
                <a:effectLst/>
                <a:latin typeface="Microsoft Uighur" panose="02000000000000000000" pitchFamily="2" charset="-78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600A5F7D-7D47-07F5-08AA-8016965DE68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 dirty="0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856451314"/>
      </p:ext>
    </p:extLst>
  </p:cSld>
  <p:clrMapOvr>
    <a:masterClrMapping/>
  </p:clrMapOvr>
  <p:transition spd="slow">
    <p:fade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  <a:lvl2pPr algn="r" rtl="1">
              <a:defRPr>
                <a:latin typeface="Microsoft Uighur" panose="02000000000000000000" pitchFamily="2" charset="-78"/>
              </a:defRPr>
            </a:lvl2pPr>
            <a:lvl3pPr algn="r" rtl="1">
              <a:defRPr>
                <a:latin typeface="Microsoft Uighur" panose="02000000000000000000" pitchFamily="2" charset="-78"/>
              </a:defRPr>
            </a:lvl3pPr>
            <a:lvl4pPr algn="r" rtl="1">
              <a:defRPr>
                <a:latin typeface="Microsoft Uighur" panose="02000000000000000000" pitchFamily="2" charset="-78"/>
              </a:defRPr>
            </a:lvl4pPr>
            <a:lvl5pPr algn="r" rtl="1">
              <a:defRPr>
                <a:latin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12" name="Espace réservé de l'élément multimédia 11">
            <a:extLst>
              <a:ext uri="{FF2B5EF4-FFF2-40B4-BE49-F238E27FC236}">
                <a16:creationId xmlns:a16="http://schemas.microsoft.com/office/drawing/2014/main" id="{F829FF4F-B5FF-57C3-494A-3084F0422CA9}"/>
              </a:ext>
            </a:extLst>
          </p:cNvPr>
          <p:cNvSpPr>
            <a:spLocks noGrp="1"/>
          </p:cNvSpPr>
          <p:nvPr>
            <p:ph type="media" sz="quarter" idx="14"/>
          </p:nvPr>
        </p:nvSpPr>
        <p:spPr>
          <a:xfrm>
            <a:off x="360000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CB3B8A30-F32D-5CC4-2E67-28B50E2CDB5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407924301"/>
      </p:ext>
    </p:extLst>
  </p:cSld>
  <p:clrMapOvr>
    <a:masterClrMapping/>
  </p:clrMapOvr>
  <p:transition spd="slow">
    <p:fade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  <a:lvl2pPr algn="r" rtl="1">
              <a:defRPr>
                <a:latin typeface="Microsoft Uighur" panose="02000000000000000000" pitchFamily="2" charset="-78"/>
              </a:defRPr>
            </a:lvl2pPr>
            <a:lvl3pPr algn="r" rtl="1">
              <a:defRPr>
                <a:latin typeface="Microsoft Uighur" panose="02000000000000000000" pitchFamily="2" charset="-78"/>
              </a:defRPr>
            </a:lvl3pPr>
            <a:lvl4pPr algn="r" rtl="1">
              <a:defRPr>
                <a:latin typeface="Microsoft Uighur" panose="02000000000000000000" pitchFamily="2" charset="-78"/>
              </a:defRPr>
            </a:lvl4pPr>
            <a:lvl5pPr algn="r" rtl="1">
              <a:defRPr>
                <a:latin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5" name="Espace réservé pour une image  4">
            <a:extLst>
              <a:ext uri="{FF2B5EF4-FFF2-40B4-BE49-F238E27FC236}">
                <a16:creationId xmlns:a16="http://schemas.microsoft.com/office/drawing/2014/main" id="{5D718CC0-0BDB-9947-CCFF-FF1A546B985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60045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EE0B4139-2278-6815-C0E2-8899DA457567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616559507"/>
      </p:ext>
    </p:extLst>
  </p:cSld>
  <p:clrMapOvr>
    <a:masterClrMapping/>
  </p:clrMapOvr>
  <p:transition spd="slow">
    <p:fad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1" name="Espace réservé pour une image  14">
            <a:extLst>
              <a:ext uri="{FF2B5EF4-FFF2-40B4-BE49-F238E27FC236}">
                <a16:creationId xmlns:a16="http://schemas.microsoft.com/office/drawing/2014/main" id="{6CAD6A59-FF09-83BD-CF55-048C618D77D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6899555" y="1661629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3" name="Espace réservé pour une image  14">
            <a:extLst>
              <a:ext uri="{FF2B5EF4-FFF2-40B4-BE49-F238E27FC236}">
                <a16:creationId xmlns:a16="http://schemas.microsoft.com/office/drawing/2014/main" id="{5DBFF0BF-C86C-814E-B36F-BBBAA0F52754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551555" y="1661629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4" name="Espace réservé pour une image  14">
            <a:extLst>
              <a:ext uri="{FF2B5EF4-FFF2-40B4-BE49-F238E27FC236}">
                <a16:creationId xmlns:a16="http://schemas.microsoft.com/office/drawing/2014/main" id="{E726AE8C-307B-2987-95A8-6F7E9A0252DE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225555" y="1661629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C68813DF-B21E-B042-7209-2BDBC9D34EB3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899555" y="329589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pour une image  14">
            <a:extLst>
              <a:ext uri="{FF2B5EF4-FFF2-40B4-BE49-F238E27FC236}">
                <a16:creationId xmlns:a16="http://schemas.microsoft.com/office/drawing/2014/main" id="{9B10FE9B-0F21-581A-1B4E-D631230494E0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3551555" y="329589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34A4715C-3DAE-D49B-53C3-8A2CEEFE4371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5225555" y="329589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pour une image  14">
            <a:extLst>
              <a:ext uri="{FF2B5EF4-FFF2-40B4-BE49-F238E27FC236}">
                <a16:creationId xmlns:a16="http://schemas.microsoft.com/office/drawing/2014/main" id="{7F223E00-5735-BD46-CC20-E6FA82ECED63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6899555" y="4925888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5D506AF-06A3-C04A-7D27-3D3AB9F7245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3551555" y="4925888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2A8C417-C281-7590-57E3-25CA49255FCF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5225555" y="4925888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  <a:lvl2pPr algn="r" rtl="1">
              <a:defRPr>
                <a:latin typeface="Microsoft Uighur" panose="02000000000000000000" pitchFamily="2" charset="-78"/>
              </a:defRPr>
            </a:lvl2pPr>
            <a:lvl3pPr algn="r" rtl="1">
              <a:defRPr>
                <a:latin typeface="Microsoft Uighur" panose="02000000000000000000" pitchFamily="2" charset="-78"/>
              </a:defRPr>
            </a:lvl3pPr>
            <a:lvl4pPr algn="r" rtl="1">
              <a:defRPr>
                <a:latin typeface="Microsoft Uighur" panose="02000000000000000000" pitchFamily="2" charset="-78"/>
              </a:defRPr>
            </a:lvl4pPr>
            <a:lvl5pPr algn="r" rtl="1">
              <a:defRPr>
                <a:latin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10" name="Espace réservé pour une image  16">
            <a:extLst>
              <a:ext uri="{FF2B5EF4-FFF2-40B4-BE49-F238E27FC236}">
                <a16:creationId xmlns:a16="http://schemas.microsoft.com/office/drawing/2014/main" id="{685F2552-53F8-E324-FAFC-7CBC92F27AA3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970798710"/>
      </p:ext>
    </p:extLst>
  </p:cSld>
  <p:clrMapOvr>
    <a:masterClrMapping/>
  </p:clrMapOvr>
  <p:transition spd="slow"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E85BC44-B897-D2E5-D7ED-B51C2F89F304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7217644"/>
      </p:ext>
    </p:extLst>
  </p:cSld>
  <p:clrMapOvr>
    <a:masterClrMapping/>
  </p:clrMapOvr>
  <p:transition spd="slow"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44355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565F88"/>
                </a:solidFill>
                <a:effectLst/>
                <a:latin typeface="Microsoft Uighur" panose="02000000000000000000" pitchFamily="2" charset="-78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32697" y="4573417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565F88"/>
                </a:solidFill>
                <a:effectLst/>
                <a:latin typeface="Microsoft Uighur" panose="02000000000000000000" pitchFamily="2" charset="-78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210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565F88"/>
                </a:solidFill>
                <a:effectLst/>
                <a:latin typeface="Microsoft Uighur" panose="02000000000000000000" pitchFamily="2" charset="-78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809383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565F88"/>
                </a:solidFill>
                <a:effectLst/>
                <a:latin typeface="Microsoft Uighur" panose="02000000000000000000" pitchFamily="2" charset="-78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7A9285AD-8B22-A04D-E893-6F08727F900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593856419"/>
      </p:ext>
    </p:extLst>
  </p:cSld>
  <p:clrMapOvr>
    <a:masterClrMapping/>
  </p:clrMapOvr>
  <p:transition spd="slow">
    <p:fade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0" name="Espace réservé pour une image  14">
            <a:extLst>
              <a:ext uri="{FF2B5EF4-FFF2-40B4-BE49-F238E27FC236}">
                <a16:creationId xmlns:a16="http://schemas.microsoft.com/office/drawing/2014/main" id="{F72B9DAC-5B26-3AA7-F1E9-7199F361C36B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1" name="Espace réservé pour une image  14">
            <a:extLst>
              <a:ext uri="{FF2B5EF4-FFF2-40B4-BE49-F238E27FC236}">
                <a16:creationId xmlns:a16="http://schemas.microsoft.com/office/drawing/2014/main" id="{6CAD6A59-FF09-83BD-CF55-048C618D77D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2" name="Espace réservé pour une image  14">
            <a:extLst>
              <a:ext uri="{FF2B5EF4-FFF2-40B4-BE49-F238E27FC236}">
                <a16:creationId xmlns:a16="http://schemas.microsoft.com/office/drawing/2014/main" id="{2270B6D3-B398-4D84-E776-FBEF7EA75FB9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3" name="Espace réservé pour une image  14">
            <a:extLst>
              <a:ext uri="{FF2B5EF4-FFF2-40B4-BE49-F238E27FC236}">
                <a16:creationId xmlns:a16="http://schemas.microsoft.com/office/drawing/2014/main" id="{5DBFF0BF-C86C-814E-B36F-BBBAA0F52754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4" name="Espace réservé pour une image  14">
            <a:extLst>
              <a:ext uri="{FF2B5EF4-FFF2-40B4-BE49-F238E27FC236}">
                <a16:creationId xmlns:a16="http://schemas.microsoft.com/office/drawing/2014/main" id="{E726AE8C-307B-2987-95A8-6F7E9A0252DE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130970149"/>
      </p:ext>
    </p:extLst>
  </p:cSld>
  <p:clrMapOvr>
    <a:masterClrMapping/>
  </p:clrMapOvr>
  <p:transition spd="slow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21/11/202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5924208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21/11/2025</a:t>
            </a:fld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27815745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565F88"/>
                </a:solidFill>
                <a:effectLst/>
                <a:latin typeface="Microsoft Uighur" panose="02000000000000000000" pitchFamily="2" charset="-78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565F88"/>
                </a:solidFill>
                <a:effectLst/>
                <a:latin typeface="Microsoft Uighur" panose="02000000000000000000" pitchFamily="2" charset="-78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565F88"/>
                </a:solidFill>
                <a:effectLst/>
                <a:latin typeface="Microsoft Uighur" panose="02000000000000000000" pitchFamily="2" charset="-78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565F88"/>
                </a:solidFill>
                <a:effectLst/>
                <a:latin typeface="Microsoft Uighur" panose="02000000000000000000" pitchFamily="2" charset="-78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565F88"/>
                </a:solidFill>
                <a:effectLst/>
                <a:latin typeface="Microsoft Uighur" panose="02000000000000000000" pitchFamily="2" charset="-78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E1611C4F-2F07-955B-230E-2BD4D9E35C36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4883805"/>
      </p:ext>
    </p:extLst>
  </p:cSld>
  <p:clrMapOvr>
    <a:masterClrMapping/>
  </p:clrMapOvr>
  <p:transition spd="slow"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C55096D1-EB19-8E69-96A7-25A43E33976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775018892"/>
      </p:ext>
    </p:extLst>
  </p:cSld>
  <p:clrMapOvr>
    <a:masterClrMapping/>
  </p:clrMapOvr>
  <p:transition spd="slow"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565F88"/>
                </a:solidFill>
                <a:effectLst/>
                <a:latin typeface="Microsoft Uighur" panose="02000000000000000000" pitchFamily="2" charset="-78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565F88"/>
                </a:solidFill>
                <a:effectLst/>
                <a:latin typeface="Microsoft Uighur" panose="02000000000000000000" pitchFamily="2" charset="-78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565F88"/>
                </a:solidFill>
                <a:effectLst/>
                <a:latin typeface="Microsoft Uighur" panose="02000000000000000000" pitchFamily="2" charset="-78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565F88"/>
                </a:solidFill>
                <a:effectLst/>
                <a:latin typeface="Microsoft Uighur" panose="02000000000000000000" pitchFamily="2" charset="-78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565F88"/>
                </a:solidFill>
                <a:effectLst/>
                <a:latin typeface="Microsoft Uighur" panose="02000000000000000000" pitchFamily="2" charset="-78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6" name="Espace réservé du texte 14">
            <a:extLst>
              <a:ext uri="{FF2B5EF4-FFF2-40B4-BE49-F238E27FC236}">
                <a16:creationId xmlns:a16="http://schemas.microsoft.com/office/drawing/2014/main" id="{24C4BDD6-3530-4D8F-6435-7481BF63741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83970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565F88"/>
                </a:solidFill>
                <a:effectLst/>
                <a:latin typeface="Microsoft Uighur" panose="02000000000000000000" pitchFamily="2" charset="-78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7" name="Espace réservé du texte 14">
            <a:extLst>
              <a:ext uri="{FF2B5EF4-FFF2-40B4-BE49-F238E27FC236}">
                <a16:creationId xmlns:a16="http://schemas.microsoft.com/office/drawing/2014/main" id="{28318D23-D16D-A34E-43C5-131B2D3880D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772312" y="3662239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565F88"/>
                </a:solidFill>
                <a:effectLst/>
                <a:latin typeface="Microsoft Uighur" panose="02000000000000000000" pitchFamily="2" charset="-78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8" name="Espace réservé du texte 14">
            <a:extLst>
              <a:ext uri="{FF2B5EF4-FFF2-40B4-BE49-F238E27FC236}">
                <a16:creationId xmlns:a16="http://schemas.microsoft.com/office/drawing/2014/main" id="{47B1FA81-6AC5-8E1B-72FC-38B38A0A958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760654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565F88"/>
                </a:solidFill>
                <a:effectLst/>
                <a:latin typeface="Microsoft Uighur" panose="02000000000000000000" pitchFamily="2" charset="-78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9" name="Espace réservé du texte 14">
            <a:extLst>
              <a:ext uri="{FF2B5EF4-FFF2-40B4-BE49-F238E27FC236}">
                <a16:creationId xmlns:a16="http://schemas.microsoft.com/office/drawing/2014/main" id="{CCC34425-40DA-F506-8846-6105F3AC1D2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748998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565F88"/>
                </a:solidFill>
                <a:effectLst/>
                <a:latin typeface="Microsoft Uighur" panose="02000000000000000000" pitchFamily="2" charset="-78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1A6A4BA0-D462-85AB-E123-BB4F6907F98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721521694"/>
      </p:ext>
    </p:extLst>
  </p:cSld>
  <p:clrMapOvr>
    <a:masterClrMapping/>
  </p:clrMapOvr>
  <p:transition spd="slow"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1" name="Espace réservé de l'élément multimédia 10">
            <a:extLst>
              <a:ext uri="{FF2B5EF4-FFF2-40B4-BE49-F238E27FC236}">
                <a16:creationId xmlns:a16="http://schemas.microsoft.com/office/drawing/2014/main" id="{4345ECB7-0BD1-2615-17F4-F7F83AB072E4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33F74BEE-FD18-5972-5B67-A4109E3461B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6152667"/>
      </p:ext>
    </p:extLst>
  </p:cSld>
  <p:clrMapOvr>
    <a:masterClrMapping/>
  </p:clrMapOvr>
  <p:transition spd="slow"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7BFA75F2-F59E-52B7-C96F-CB0C3E62B4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E8C52E21-EF60-EFA4-6191-FA53B985CEC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370586302"/>
      </p:ext>
    </p:extLst>
  </p:cSld>
  <p:clrMapOvr>
    <a:masterClrMapping/>
  </p:clrMapOvr>
  <p:transition spd="slow">
    <p:fade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Lib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>
                <a:solidFill>
                  <a:srgbClr val="A6A6A6"/>
                </a:solidFill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29BBC07-74A6-563A-24CF-30738239EBDA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645200753"/>
      </p:ext>
    </p:extLst>
  </p:cSld>
  <p:clrMapOvr>
    <a:masterClrMapping/>
  </p:clrMapOvr>
  <p:transition spd="slow"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Disposition personnalisée">
    <p:bg>
      <p:bgPr>
        <a:blipFill dpi="0" rotWithShape="1">
          <a:blip r:embed="rId2">
            <a:lum/>
          </a:blip>
          <a:srcRect/>
          <a:stretch>
            <a:fillRect l="-1000" t="-1000" r="-1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id="{E9371ADD-26AE-A577-29B9-449852C9B6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196" y="895086"/>
            <a:ext cx="7886700" cy="720000"/>
          </a:xfrm>
          <a:prstGeom prst="rect">
            <a:avLst/>
          </a:prstGeom>
        </p:spPr>
        <p:txBody>
          <a:bodyPr anchor="ctr"/>
          <a:lstStyle>
            <a:lvl1pPr algn="ctr" rtl="1">
              <a:defRPr lang="fr-MA" sz="3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pPr lvl="0" algn="ctr"/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436773197"/>
      </p:ext>
    </p:extLst>
  </p:cSld>
  <p:clrMapOvr>
    <a:masterClrMapping/>
  </p:clrMapOvr>
  <p:transition spd="slow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1_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21/11/2025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9342971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1_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Cliquez sur l'icône pour ajouter une imag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21/11/2025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6834995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1_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21/11/202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9342393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21/11/202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4141070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Disposition personnalisée">
    <p:bg>
      <p:bgPr>
        <a:blipFill dpi="0" rotWithShape="1">
          <a:blip r:embed="rId2">
            <a:lum/>
          </a:blip>
          <a:srcRect/>
          <a:stretch>
            <a:fillRect l="-1000" t="-1000" r="-1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id="{E9371ADD-26AE-A577-29B9-449852C9B6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196" y="895086"/>
            <a:ext cx="7886700" cy="720000"/>
          </a:xfrm>
          <a:prstGeom prst="rect">
            <a:avLst/>
          </a:prstGeom>
        </p:spPr>
        <p:txBody>
          <a:bodyPr anchor="ctr"/>
          <a:lstStyle>
            <a:lvl1pPr algn="ctr" rtl="1">
              <a:defRPr lang="fr-MA" sz="3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pPr lvl="0" algn="ctr"/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884662387"/>
      </p:ext>
    </p:extLst>
  </p:cSld>
  <p:clrMapOvr>
    <a:masterClrMapping/>
  </p:clrMapOvr>
  <p:transition spd="slow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bg>
      <p:bgPr>
        <a:blipFill dpi="0" rotWithShape="1">
          <a:blip r:embed="rId2">
            <a:lum/>
          </a:blip>
          <a:srcRect/>
          <a:stretch>
            <a:fillRect l="-1000" t="-1000" r="-1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D17293F3-D23C-5B39-CA2E-065ADB373CF2}"/>
              </a:ext>
            </a:extLst>
          </p:cNvPr>
          <p:cNvSpPr/>
          <p:nvPr userDrawn="1"/>
        </p:nvSpPr>
        <p:spPr>
          <a:xfrm>
            <a:off x="628650" y="1260630"/>
            <a:ext cx="5040000" cy="5060272"/>
          </a:xfrm>
          <a:prstGeom prst="roundRect">
            <a:avLst>
              <a:gd name="adj" fmla="val 9429"/>
            </a:avLst>
          </a:prstGeom>
          <a:noFill/>
          <a:ln>
            <a:solidFill>
              <a:srgbClr val="55B6D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7DB622CA-75B8-1DB3-221C-F032331AEC89}"/>
              </a:ext>
            </a:extLst>
          </p:cNvPr>
          <p:cNvSpPr/>
          <p:nvPr userDrawn="1"/>
        </p:nvSpPr>
        <p:spPr>
          <a:xfrm>
            <a:off x="5995350" y="1260630"/>
            <a:ext cx="2520000" cy="5060272"/>
          </a:xfrm>
          <a:prstGeom prst="roundRect">
            <a:avLst>
              <a:gd name="adj" fmla="val 14501"/>
            </a:avLst>
          </a:prstGeom>
          <a:noFill/>
          <a:ln>
            <a:solidFill>
              <a:srgbClr val="55B6D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5" name="Organigramme : Terminateur 4">
            <a:extLst>
              <a:ext uri="{FF2B5EF4-FFF2-40B4-BE49-F238E27FC236}">
                <a16:creationId xmlns:a16="http://schemas.microsoft.com/office/drawing/2014/main" id="{2422045F-9F83-8B02-B2A6-ACEAD36DEBAC}"/>
              </a:ext>
            </a:extLst>
          </p:cNvPr>
          <p:cNvSpPr/>
          <p:nvPr userDrawn="1"/>
        </p:nvSpPr>
        <p:spPr>
          <a:xfrm>
            <a:off x="2518650" y="1084470"/>
            <a:ext cx="1260000" cy="360000"/>
          </a:xfrm>
          <a:prstGeom prst="flowChartTerminator">
            <a:avLst/>
          </a:prstGeom>
          <a:solidFill>
            <a:srgbClr val="A1D6EC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0" indent="0" algn="ctr" defTabSz="914400" rtl="1" eaLnBrk="1" fontAlgn="auto" latinLnBrk="0" hangingPunct="1">
              <a:buClrTx/>
              <a:buSzTx/>
              <a:buFontTx/>
              <a:buNone/>
              <a:tabLst/>
            </a:pPr>
            <a:r>
              <a:rPr kumimoji="0" lang="ar-MA" sz="2800" b="1" kern="1200" spc="0" normalizeH="0" baseline="0" noProof="0" dirty="0">
                <a:ln>
                  <a:noFill/>
                </a:ln>
                <a:solidFill>
                  <a:srgbClr val="474F71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أستاذ(ة)</a:t>
            </a:r>
            <a:endParaRPr kumimoji="0" lang="fr-MA" sz="2800" b="1" kern="1200" spc="0" normalizeH="0" baseline="0" noProof="0" dirty="0">
              <a:ln>
                <a:noFill/>
              </a:ln>
              <a:solidFill>
                <a:srgbClr val="474F71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6" name="Organigramme : Terminateur 5">
            <a:extLst>
              <a:ext uri="{FF2B5EF4-FFF2-40B4-BE49-F238E27FC236}">
                <a16:creationId xmlns:a16="http://schemas.microsoft.com/office/drawing/2014/main" id="{32E9D8C1-44A4-3DD1-138E-64212CF1CAB8}"/>
              </a:ext>
            </a:extLst>
          </p:cNvPr>
          <p:cNvSpPr/>
          <p:nvPr userDrawn="1"/>
        </p:nvSpPr>
        <p:spPr>
          <a:xfrm>
            <a:off x="6625350" y="1084470"/>
            <a:ext cx="1260000" cy="360000"/>
          </a:xfrm>
          <a:prstGeom prst="flowChartTerminator">
            <a:avLst/>
          </a:prstGeom>
          <a:solidFill>
            <a:srgbClr val="A1D6EC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474F71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وسائط</a:t>
            </a:r>
            <a:endParaRPr kumimoji="0" lang="fr-MA" sz="3200" b="1" i="0" u="none" strike="noStrike" kern="1200" cap="none" spc="0" normalizeH="0" baseline="0" noProof="0" dirty="0">
              <a:ln>
                <a:noFill/>
              </a:ln>
              <a:solidFill>
                <a:srgbClr val="474F71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7" name="Espace réservé pour une image  7">
            <a:extLst>
              <a:ext uri="{FF2B5EF4-FFF2-40B4-BE49-F238E27FC236}">
                <a16:creationId xmlns:a16="http://schemas.microsoft.com/office/drawing/2014/main" id="{CF72A1D0-19C5-FB34-3BA6-3FC3D8AD194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68650" y="1573748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651CEA69-29B3-CA99-012C-DE3CBF19CF8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672000" y="1573748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9" name="Espace réservé pour une image  7">
            <a:extLst>
              <a:ext uri="{FF2B5EF4-FFF2-40B4-BE49-F238E27FC236}">
                <a16:creationId xmlns:a16="http://schemas.microsoft.com/office/drawing/2014/main" id="{461FED72-4AD6-2E71-C03F-25EB16265D3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168650" y="4018773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10" name="Espace réservé pour une image  7">
            <a:extLst>
              <a:ext uri="{FF2B5EF4-FFF2-40B4-BE49-F238E27FC236}">
                <a16:creationId xmlns:a16="http://schemas.microsoft.com/office/drawing/2014/main" id="{F0F7C12C-FBB0-E4FC-D49D-AE43AB4F49F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672000" y="4018773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11" name="Espace réservé pour une image  7">
            <a:extLst>
              <a:ext uri="{FF2B5EF4-FFF2-40B4-BE49-F238E27FC236}">
                <a16:creationId xmlns:a16="http://schemas.microsoft.com/office/drawing/2014/main" id="{76202372-AC64-90F0-FB97-3C822FFD202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535350" y="1573748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12" name="Espace réservé pour une image  7">
            <a:extLst>
              <a:ext uri="{FF2B5EF4-FFF2-40B4-BE49-F238E27FC236}">
                <a16:creationId xmlns:a16="http://schemas.microsoft.com/office/drawing/2014/main" id="{1BFAFA1A-B3A8-6BF0-D7F3-153117367B2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535350" y="4018773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13" name="Espace réservé du texte 13">
            <a:extLst>
              <a:ext uri="{FF2B5EF4-FFF2-40B4-BE49-F238E27FC236}">
                <a16:creationId xmlns:a16="http://schemas.microsoft.com/office/drawing/2014/main" id="{D113B0C1-5BA0-6BE9-2BCD-F9F05FAD577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71856" y="3146082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512AF551-AFE7-003D-FA00-8F4FBF995F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75206" y="3154374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5" name="Espace réservé du texte 13">
            <a:extLst>
              <a:ext uri="{FF2B5EF4-FFF2-40B4-BE49-F238E27FC236}">
                <a16:creationId xmlns:a16="http://schemas.microsoft.com/office/drawing/2014/main" id="{8D2F1BFB-C355-7F08-41BE-DA5865755C1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38556" y="3154374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6" name="Espace réservé du texte 13">
            <a:extLst>
              <a:ext uri="{FF2B5EF4-FFF2-40B4-BE49-F238E27FC236}">
                <a16:creationId xmlns:a16="http://schemas.microsoft.com/office/drawing/2014/main" id="{38917069-6101-0DC9-93E1-900F88BE62D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64455" y="5606678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7" name="Espace réservé du texte 13">
            <a:extLst>
              <a:ext uri="{FF2B5EF4-FFF2-40B4-BE49-F238E27FC236}">
                <a16:creationId xmlns:a16="http://schemas.microsoft.com/office/drawing/2014/main" id="{B2614ECD-99CF-FF11-140D-A119DFD535D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67805" y="5614970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8" name="Espace réservé du texte 13">
            <a:extLst>
              <a:ext uri="{FF2B5EF4-FFF2-40B4-BE49-F238E27FC236}">
                <a16:creationId xmlns:a16="http://schemas.microsoft.com/office/drawing/2014/main" id="{D3F024BA-DAE1-588E-F0F5-B1E8B89B4B9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31155" y="5614970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787506743"/>
      </p:ext>
    </p:extLst>
  </p:cSld>
  <p:clrMapOvr>
    <a:masterClrMapping/>
  </p:clrMapOvr>
  <p:transition spd="slow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E7C9F4DD-B5CC-D217-01BE-8F0408FBBBE9}"/>
              </a:ext>
            </a:extLst>
          </p:cNvPr>
          <p:cNvSpPr/>
          <p:nvPr userDrawn="1"/>
        </p:nvSpPr>
        <p:spPr>
          <a:xfrm>
            <a:off x="628650" y="1260630"/>
            <a:ext cx="5040000" cy="5060272"/>
          </a:xfrm>
          <a:prstGeom prst="roundRect">
            <a:avLst>
              <a:gd name="adj" fmla="val 9429"/>
            </a:avLst>
          </a:prstGeom>
          <a:noFill/>
          <a:ln>
            <a:solidFill>
              <a:srgbClr val="55B6D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0B19A311-316A-D4F7-6713-F6A3F55A887D}"/>
              </a:ext>
            </a:extLst>
          </p:cNvPr>
          <p:cNvSpPr/>
          <p:nvPr userDrawn="1"/>
        </p:nvSpPr>
        <p:spPr>
          <a:xfrm>
            <a:off x="5995350" y="1260630"/>
            <a:ext cx="2520000" cy="5060272"/>
          </a:xfrm>
          <a:prstGeom prst="roundRect">
            <a:avLst>
              <a:gd name="adj" fmla="val 14501"/>
            </a:avLst>
          </a:prstGeom>
          <a:noFill/>
          <a:ln>
            <a:solidFill>
              <a:srgbClr val="55B6D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5" name="Organigramme : Terminateur 4">
            <a:extLst>
              <a:ext uri="{FF2B5EF4-FFF2-40B4-BE49-F238E27FC236}">
                <a16:creationId xmlns:a16="http://schemas.microsoft.com/office/drawing/2014/main" id="{57779EB0-21D6-E7A7-DC14-82C688EFB25B}"/>
              </a:ext>
            </a:extLst>
          </p:cNvPr>
          <p:cNvSpPr/>
          <p:nvPr userDrawn="1"/>
        </p:nvSpPr>
        <p:spPr>
          <a:xfrm>
            <a:off x="2518650" y="1084470"/>
            <a:ext cx="1260000" cy="360000"/>
          </a:xfrm>
          <a:prstGeom prst="flowChartTerminator">
            <a:avLst/>
          </a:prstGeom>
          <a:solidFill>
            <a:srgbClr val="A1D6EC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0" indent="0" algn="ctr" defTabSz="914400" rtl="1" eaLnBrk="1" fontAlgn="auto" latinLnBrk="0" hangingPunct="1">
              <a:buClrTx/>
              <a:buSzTx/>
              <a:buFontTx/>
              <a:buNone/>
              <a:tabLst/>
            </a:pPr>
            <a:r>
              <a:rPr kumimoji="0" lang="ar-MA" sz="2800" b="1" kern="1200" spc="0" normalizeH="0" baseline="0" noProof="0" dirty="0">
                <a:ln>
                  <a:noFill/>
                </a:ln>
                <a:solidFill>
                  <a:srgbClr val="474F71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أستاذ(ة)</a:t>
            </a:r>
            <a:endParaRPr kumimoji="0" lang="fr-MA" sz="2800" b="1" kern="1200" spc="0" normalizeH="0" baseline="0" noProof="0" dirty="0">
              <a:ln>
                <a:noFill/>
              </a:ln>
              <a:solidFill>
                <a:srgbClr val="474F71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6" name="Organigramme : Terminateur 5">
            <a:extLst>
              <a:ext uri="{FF2B5EF4-FFF2-40B4-BE49-F238E27FC236}">
                <a16:creationId xmlns:a16="http://schemas.microsoft.com/office/drawing/2014/main" id="{66CF2EE5-F868-A180-1E83-3CB4FFC175F5}"/>
              </a:ext>
            </a:extLst>
          </p:cNvPr>
          <p:cNvSpPr/>
          <p:nvPr userDrawn="1"/>
        </p:nvSpPr>
        <p:spPr>
          <a:xfrm>
            <a:off x="6625350" y="1084470"/>
            <a:ext cx="1260000" cy="360000"/>
          </a:xfrm>
          <a:prstGeom prst="flowChartTerminator">
            <a:avLst/>
          </a:prstGeom>
          <a:solidFill>
            <a:srgbClr val="A1D6EC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474F71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وسائط</a:t>
            </a:r>
            <a:endParaRPr kumimoji="0" lang="fr-MA" sz="3200" b="1" i="0" u="none" strike="noStrike" kern="1200" cap="none" spc="0" normalizeH="0" baseline="0" noProof="0" dirty="0">
              <a:ln>
                <a:noFill/>
              </a:ln>
              <a:solidFill>
                <a:srgbClr val="474F71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4653E578-1FD8-0703-E211-16311E5A4C7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68650" y="1573748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9" name="Espace réservé pour une image  7">
            <a:extLst>
              <a:ext uri="{FF2B5EF4-FFF2-40B4-BE49-F238E27FC236}">
                <a16:creationId xmlns:a16="http://schemas.microsoft.com/office/drawing/2014/main" id="{5AA58C26-15AC-8A0B-3EE3-F1D1E4A84DC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672000" y="1573748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10" name="Espace réservé pour une image  7">
            <a:extLst>
              <a:ext uri="{FF2B5EF4-FFF2-40B4-BE49-F238E27FC236}">
                <a16:creationId xmlns:a16="http://schemas.microsoft.com/office/drawing/2014/main" id="{F56653E2-D414-4549-F125-11A4CC8D86A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168650" y="4018773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11" name="Espace réservé pour une image  7">
            <a:extLst>
              <a:ext uri="{FF2B5EF4-FFF2-40B4-BE49-F238E27FC236}">
                <a16:creationId xmlns:a16="http://schemas.microsoft.com/office/drawing/2014/main" id="{1E494D86-A745-83E0-6593-1824E67A47D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672000" y="4018773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12" name="Espace réservé pour une image  7">
            <a:extLst>
              <a:ext uri="{FF2B5EF4-FFF2-40B4-BE49-F238E27FC236}">
                <a16:creationId xmlns:a16="http://schemas.microsoft.com/office/drawing/2014/main" id="{92701F09-11E2-C817-B080-03D3CDAEE1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535350" y="1573748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13" name="Espace réservé pour une image  7">
            <a:extLst>
              <a:ext uri="{FF2B5EF4-FFF2-40B4-BE49-F238E27FC236}">
                <a16:creationId xmlns:a16="http://schemas.microsoft.com/office/drawing/2014/main" id="{1690D7F0-DCEA-3629-AFF4-44D5127B0D0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535350" y="4018773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14F94F7C-4C7F-898C-CC70-308A1F8454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71856" y="3146082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5" name="Espace réservé du texte 13">
            <a:extLst>
              <a:ext uri="{FF2B5EF4-FFF2-40B4-BE49-F238E27FC236}">
                <a16:creationId xmlns:a16="http://schemas.microsoft.com/office/drawing/2014/main" id="{4CBE369E-C2C0-D08B-CA99-A44539954DB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75206" y="3154374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6" name="Espace réservé du texte 13">
            <a:extLst>
              <a:ext uri="{FF2B5EF4-FFF2-40B4-BE49-F238E27FC236}">
                <a16:creationId xmlns:a16="http://schemas.microsoft.com/office/drawing/2014/main" id="{7ED83195-42FE-3FDC-0391-9DCD6496140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38556" y="3154374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7" name="Espace réservé du texte 13">
            <a:extLst>
              <a:ext uri="{FF2B5EF4-FFF2-40B4-BE49-F238E27FC236}">
                <a16:creationId xmlns:a16="http://schemas.microsoft.com/office/drawing/2014/main" id="{FB933A37-3B6B-2E30-74DE-FE00D4BC93E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64455" y="5606678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8" name="Espace réservé du texte 13">
            <a:extLst>
              <a:ext uri="{FF2B5EF4-FFF2-40B4-BE49-F238E27FC236}">
                <a16:creationId xmlns:a16="http://schemas.microsoft.com/office/drawing/2014/main" id="{8B95E6E0-0D72-7779-0E2F-18DD9CC4993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67805" y="5614970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9" name="Espace réservé du texte 13">
            <a:extLst>
              <a:ext uri="{FF2B5EF4-FFF2-40B4-BE49-F238E27FC236}">
                <a16:creationId xmlns:a16="http://schemas.microsoft.com/office/drawing/2014/main" id="{1C6D4C40-DCBA-354E-CA6B-4B1D7ADB717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31155" y="5614970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924500562"/>
      </p:ext>
    </p:extLst>
  </p:cSld>
  <p:clrMapOvr>
    <a:masterClrMapping/>
  </p:clrMapOvr>
  <p:transition spd="slow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21/11/202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5889551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21/11/202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783532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21/11/202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6068706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2_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21/11/202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7459840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21/11/2025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1126286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21/11/2025</a:t>
            </a:fld>
            <a:endParaRPr lang="fr-F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9696599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21/11/2025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2409701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21/11/2025</a:t>
            </a:fld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413140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2_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21/11/2025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9133555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2_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Cliquez sur l'icône pour ajouter une imag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21/11/2025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4624297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2_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21/11/202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3759319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2_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21/11/202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5316205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Disposition personnalisée">
    <p:bg>
      <p:bgPr>
        <a:blipFill dpi="0" rotWithShape="1">
          <a:blip r:embed="rId2">
            <a:lum/>
          </a:blip>
          <a:srcRect/>
          <a:stretch>
            <a:fillRect l="-1000" t="-1000" r="-1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id="{E9371ADD-26AE-A577-29B9-449852C9B6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196" y="895086"/>
            <a:ext cx="7886700" cy="720000"/>
          </a:xfrm>
          <a:prstGeom prst="rect">
            <a:avLst/>
          </a:prstGeom>
        </p:spPr>
        <p:txBody>
          <a:bodyPr anchor="ctr"/>
          <a:lstStyle>
            <a:lvl1pPr algn="ctr" rtl="1">
              <a:defRPr lang="fr-MA" sz="3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pPr lvl="0" algn="ctr"/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748336950"/>
      </p:ext>
    </p:extLst>
  </p:cSld>
  <p:clrMapOvr>
    <a:masterClrMapping/>
  </p:clrMapOvr>
  <p:transition spd="slow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21/11/202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1126985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Masco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613" y="756000"/>
            <a:ext cx="6840000" cy="612000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2F159B12-62B7-22A2-9765-7264C5423C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7A344F50-A074-9EB5-2DAC-9BBA2096933C}"/>
              </a:ext>
            </a:extLst>
          </p:cNvPr>
          <p:cNvSpPr>
            <a:spLocks noGrp="1" noChangeAspect="1"/>
          </p:cNvSpPr>
          <p:nvPr>
            <p:ph type="media" sz="quarter" idx="13"/>
          </p:nvPr>
        </p:nvSpPr>
        <p:spPr>
          <a:xfrm>
            <a:off x="3255750" y="1584000"/>
            <a:ext cx="2632500" cy="4680000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040293587"/>
      </p:ext>
    </p:extLst>
  </p:cSld>
  <p:clrMapOvr>
    <a:masterClrMapping/>
  </p:clrMapOvr>
  <p:transition spd="slow"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Large Vidé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E091C94E-1B65-3089-5F06-AAE4424DF093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792000" y="2160000"/>
            <a:ext cx="7560000" cy="3960000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7598C516-D98D-DBF9-3F71-DFEB0161C87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889980385"/>
      </p:ext>
    </p:extLst>
  </p:cSld>
  <p:clrMapOvr>
    <a:masterClrMapping/>
  </p:clrMapOvr>
  <p:transition spd="slow"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Vidé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E091C94E-1B65-3089-5F06-AAE4424DF093}"/>
              </a:ext>
            </a:extLst>
          </p:cNvPr>
          <p:cNvSpPr>
            <a:spLocks noGrp="1" noChangeAspect="1"/>
          </p:cNvSpPr>
          <p:nvPr>
            <p:ph type="media" sz="quarter" idx="10"/>
          </p:nvPr>
        </p:nvSpPr>
        <p:spPr>
          <a:xfrm>
            <a:off x="1692000" y="2026860"/>
            <a:ext cx="5760000" cy="3017150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du texte 4">
            <a:extLst>
              <a:ext uri="{FF2B5EF4-FFF2-40B4-BE49-F238E27FC236}">
                <a16:creationId xmlns:a16="http://schemas.microsoft.com/office/drawing/2014/main" id="{9926949A-F877-393A-0235-737EC4E29E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91999" y="5400000"/>
            <a:ext cx="5760000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2800" b="1" kern="1200" cap="none" spc="0" dirty="0">
                <a:ln w="0"/>
                <a:solidFill>
                  <a:srgbClr val="474F71"/>
                </a:solidFill>
                <a:effectLst/>
                <a:latin typeface="Dosis" pitchFamily="2" charset="0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8" name="Espace réservé pour une image  16">
            <a:extLst>
              <a:ext uri="{FF2B5EF4-FFF2-40B4-BE49-F238E27FC236}">
                <a16:creationId xmlns:a16="http://schemas.microsoft.com/office/drawing/2014/main" id="{EEF34296-E850-0AEB-BB92-43EC46A1102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223313547"/>
      </p:ext>
    </p:extLst>
  </p:cSld>
  <p:clrMapOvr>
    <a:masterClrMapping/>
  </p:clrMapOvr>
  <p:transition spd="slow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2">
            <a:extLst>
              <a:ext uri="{FF2B5EF4-FFF2-40B4-BE49-F238E27FC236}">
                <a16:creationId xmlns:a16="http://schemas.microsoft.com/office/drawing/2014/main" id="{C8528F83-9A65-C0AF-DA97-1526D668AC8E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1395438" y="2344003"/>
            <a:ext cx="2880000" cy="288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du texte 4">
            <a:extLst>
              <a:ext uri="{FF2B5EF4-FFF2-40B4-BE49-F238E27FC236}">
                <a16:creationId xmlns:a16="http://schemas.microsoft.com/office/drawing/2014/main" id="{993D7940-6B7C-F4DD-FCA1-A62E6F04A7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31055" y="3240000"/>
            <a:ext cx="3613875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5400" b="1" kern="1200" cap="none" spc="0" dirty="0">
                <a:ln w="0"/>
                <a:solidFill>
                  <a:srgbClr val="474F71"/>
                </a:solidFill>
                <a:effectLst/>
                <a:latin typeface="Dosis" pitchFamily="2" charset="0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9D132558-3F75-CB4C-D531-27315320B88F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320198654"/>
      </p:ext>
    </p:extLst>
  </p:cSld>
  <p:clrMapOvr>
    <a:masterClrMapping/>
  </p:clrMapOvr>
  <p:transition spd="slow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  <a:lvl2pPr algn="r" rtl="1">
              <a:defRPr>
                <a:latin typeface="Microsoft Uighur" panose="02000000000000000000" pitchFamily="2" charset="-78"/>
              </a:defRPr>
            </a:lvl2pPr>
            <a:lvl3pPr algn="r" rtl="1">
              <a:defRPr>
                <a:latin typeface="Microsoft Uighur" panose="02000000000000000000" pitchFamily="2" charset="-78"/>
              </a:defRPr>
            </a:lvl3pPr>
            <a:lvl4pPr algn="r" rtl="1">
              <a:defRPr>
                <a:latin typeface="Microsoft Uighur" panose="02000000000000000000" pitchFamily="2" charset="-78"/>
              </a:defRPr>
            </a:lvl4pPr>
            <a:lvl5pPr algn="r" rtl="1">
              <a:defRPr>
                <a:latin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12" name="Espace réservé de l'élément multimédia 11">
            <a:extLst>
              <a:ext uri="{FF2B5EF4-FFF2-40B4-BE49-F238E27FC236}">
                <a16:creationId xmlns:a16="http://schemas.microsoft.com/office/drawing/2014/main" id="{F829FF4F-B5FF-57C3-494A-3084F0422CA9}"/>
              </a:ext>
            </a:extLst>
          </p:cNvPr>
          <p:cNvSpPr>
            <a:spLocks noGrp="1"/>
          </p:cNvSpPr>
          <p:nvPr>
            <p:ph type="media" sz="quarter" idx="14"/>
          </p:nvPr>
        </p:nvSpPr>
        <p:spPr>
          <a:xfrm>
            <a:off x="360000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E1E0570-45E7-D32C-C3AF-C520C3495AA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069685249"/>
      </p:ext>
    </p:extLst>
  </p:cSld>
  <p:clrMapOvr>
    <a:masterClrMapping/>
  </p:clrMapOvr>
  <p:transition spd="slow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  <a:lvl2pPr algn="r" rtl="1">
              <a:defRPr>
                <a:latin typeface="Microsoft Uighur" panose="02000000000000000000" pitchFamily="2" charset="-78"/>
              </a:defRPr>
            </a:lvl2pPr>
            <a:lvl3pPr algn="r" rtl="1">
              <a:defRPr>
                <a:latin typeface="Microsoft Uighur" panose="02000000000000000000" pitchFamily="2" charset="-78"/>
              </a:defRPr>
            </a:lvl3pPr>
            <a:lvl4pPr algn="r" rtl="1">
              <a:defRPr>
                <a:latin typeface="Microsoft Uighur" panose="02000000000000000000" pitchFamily="2" charset="-78"/>
              </a:defRPr>
            </a:lvl4pPr>
            <a:lvl5pPr algn="r" rtl="1">
              <a:defRPr>
                <a:latin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5" name="Espace réservé pour une image  4">
            <a:extLst>
              <a:ext uri="{FF2B5EF4-FFF2-40B4-BE49-F238E27FC236}">
                <a16:creationId xmlns:a16="http://schemas.microsoft.com/office/drawing/2014/main" id="{5D718CC0-0BDB-9947-CCFF-FF1A546B985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60045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85D16DE4-155A-6638-E7CE-E7A28AA4B608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550822582"/>
      </p:ext>
    </p:extLst>
  </p:cSld>
  <p:clrMapOvr>
    <a:masterClrMapping/>
  </p:clrMapOvr>
  <p:transition spd="slow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3" name="Espace réservé pour une image  6">
            <a:extLst>
              <a:ext uri="{FF2B5EF4-FFF2-40B4-BE49-F238E27FC236}">
                <a16:creationId xmlns:a16="http://schemas.microsoft.com/office/drawing/2014/main" id="{6DBEF773-D41A-C770-09A2-4E95231BCEF2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4016173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6" name="Espace réservé pour une image  6">
            <a:extLst>
              <a:ext uri="{FF2B5EF4-FFF2-40B4-BE49-F238E27FC236}">
                <a16:creationId xmlns:a16="http://schemas.microsoft.com/office/drawing/2014/main" id="{7E603A45-15AE-F689-5C77-2638CD14111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016173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7" name="Espace réservé pour une image  6">
            <a:extLst>
              <a:ext uri="{FF2B5EF4-FFF2-40B4-BE49-F238E27FC236}">
                <a16:creationId xmlns:a16="http://schemas.microsoft.com/office/drawing/2014/main" id="{7A287785-23C6-809D-E732-3B10E73FF581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4016173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8" name="Espace réservé pour une image  6">
            <a:extLst>
              <a:ext uri="{FF2B5EF4-FFF2-40B4-BE49-F238E27FC236}">
                <a16:creationId xmlns:a16="http://schemas.microsoft.com/office/drawing/2014/main" id="{CAB978FA-F72D-651F-22D4-C77E74E59D59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5512359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9" name="Espace réservé pour une image  6">
            <a:extLst>
              <a:ext uri="{FF2B5EF4-FFF2-40B4-BE49-F238E27FC236}">
                <a16:creationId xmlns:a16="http://schemas.microsoft.com/office/drawing/2014/main" id="{A2C53014-67DF-ECB7-1756-F9962A42486C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5512359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0" name="Espace réservé pour une image  6">
            <a:extLst>
              <a:ext uri="{FF2B5EF4-FFF2-40B4-BE49-F238E27FC236}">
                <a16:creationId xmlns:a16="http://schemas.microsoft.com/office/drawing/2014/main" id="{831DC1D3-24B1-B160-E0F9-C7E35DA4E887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5512359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1" name="Espace réservé pour une image  6">
            <a:extLst>
              <a:ext uri="{FF2B5EF4-FFF2-40B4-BE49-F238E27FC236}">
                <a16:creationId xmlns:a16="http://schemas.microsoft.com/office/drawing/2014/main" id="{76695F17-301A-B0CF-5141-CF072746FE4A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008545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2" name="Espace réservé pour une image  6">
            <a:extLst>
              <a:ext uri="{FF2B5EF4-FFF2-40B4-BE49-F238E27FC236}">
                <a16:creationId xmlns:a16="http://schemas.microsoft.com/office/drawing/2014/main" id="{142B664B-C11B-6AA7-4A9C-0531048F6C3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008545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6">
            <a:extLst>
              <a:ext uri="{FF2B5EF4-FFF2-40B4-BE49-F238E27FC236}">
                <a16:creationId xmlns:a16="http://schemas.microsoft.com/office/drawing/2014/main" id="{6CB2D926-9334-B815-CB14-067B65BB32B5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7008545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de l'élément multimédia 4">
            <a:extLst>
              <a:ext uri="{FF2B5EF4-FFF2-40B4-BE49-F238E27FC236}">
                <a16:creationId xmlns:a16="http://schemas.microsoft.com/office/drawing/2014/main" id="{AC4130FF-D25A-0542-47B5-C8C15CA14464}"/>
              </a:ext>
            </a:extLst>
          </p:cNvPr>
          <p:cNvSpPr>
            <a:spLocks noGrp="1" noChangeAspect="1"/>
          </p:cNvSpPr>
          <p:nvPr>
            <p:ph type="media" sz="quarter" idx="29"/>
          </p:nvPr>
        </p:nvSpPr>
        <p:spPr>
          <a:xfrm>
            <a:off x="1224000" y="1806417"/>
            <a:ext cx="2628000" cy="468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1324D1A-D9D9-B5ED-B73D-27AA0C2A9866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673058550"/>
      </p:ext>
    </p:extLst>
  </p:cSld>
  <p:clrMapOvr>
    <a:masterClrMapping/>
  </p:clrMapOvr>
  <p:transition spd="slow"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3B76699B-E059-47DC-DE0E-BA72358357D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127807273"/>
      </p:ext>
    </p:extLst>
  </p:cSld>
  <p:clrMapOvr>
    <a:masterClrMapping/>
  </p:clrMapOvr>
  <p:transition spd="slow"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r"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44355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32697" y="4573417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210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809383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87FAFC7B-FA92-DE4F-26F0-9F5500C95015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342815786"/>
      </p:ext>
    </p:extLst>
  </p:cSld>
  <p:clrMapOvr>
    <a:masterClrMapping/>
  </p:clrMapOvr>
  <p:transition spd="slow"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479323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3759312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039301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79323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75931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39301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803C138-D469-2A4F-DFF7-7BDE3B1200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034093720"/>
      </p:ext>
    </p:extLst>
  </p:cSld>
  <p:clrMapOvr>
    <a:masterClrMapping/>
  </p:clrMapOvr>
  <p:transition spd="slow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21/11/2025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8230639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479323" y="4161429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3759312" y="4161429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039301" y="4161429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803C138-D469-2A4F-DFF7-7BDE3B1200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pour une image  14">
            <a:extLst>
              <a:ext uri="{FF2B5EF4-FFF2-40B4-BE49-F238E27FC236}">
                <a16:creationId xmlns:a16="http://schemas.microsoft.com/office/drawing/2014/main" id="{ED574AA3-B351-6E81-47C1-AE4FFFE36E29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1479323" y="209293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C16BD22B-8A37-1A44-3B56-1FFE388CB895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3759312" y="209293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0" name="Espace réservé pour une image  14">
            <a:extLst>
              <a:ext uri="{FF2B5EF4-FFF2-40B4-BE49-F238E27FC236}">
                <a16:creationId xmlns:a16="http://schemas.microsoft.com/office/drawing/2014/main" id="{F6356B9C-DDC6-0D39-05E4-6D75382B79D2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6039301" y="209293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32655502"/>
      </p:ext>
    </p:extLst>
  </p:cSld>
  <p:clrMapOvr>
    <a:masterClrMapping/>
  </p:clrMapOvr>
  <p:transition spd="slow"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17628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7279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56931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26582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7628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7279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6931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6582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0D6A5E2-01C6-D590-C3C3-E3E3120C435F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690570023"/>
      </p:ext>
    </p:extLst>
  </p:cSld>
  <p:clrMapOvr>
    <a:masterClrMapping/>
  </p:clrMapOvr>
  <p:transition spd="slow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35837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05489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75140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4792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837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05489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75140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4792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10ABAA10-5FC2-5899-38A7-DD016CAF6D6F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144439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du texte 14">
            <a:extLst>
              <a:ext uri="{FF2B5EF4-FFF2-40B4-BE49-F238E27FC236}">
                <a16:creationId xmlns:a16="http://schemas.microsoft.com/office/drawing/2014/main" id="{6D6969BD-245C-42EC-7085-CCC9CAE7B5D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144439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1" name="Espace réservé pour une image  16">
            <a:extLst>
              <a:ext uri="{FF2B5EF4-FFF2-40B4-BE49-F238E27FC236}">
                <a16:creationId xmlns:a16="http://schemas.microsoft.com/office/drawing/2014/main" id="{22CA7E9F-9679-5248-AEE2-BF953C8E64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74709217"/>
      </p:ext>
    </p:extLst>
  </p:cSld>
  <p:clrMapOvr>
    <a:masterClrMapping/>
  </p:clrMapOvr>
  <p:transition spd="slow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0" name="Espace réservé pour une image  14">
            <a:extLst>
              <a:ext uri="{FF2B5EF4-FFF2-40B4-BE49-F238E27FC236}">
                <a16:creationId xmlns:a16="http://schemas.microsoft.com/office/drawing/2014/main" id="{F72B9DAC-5B26-3AA7-F1E9-7199F361C36B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1" name="Espace réservé pour une image  14">
            <a:extLst>
              <a:ext uri="{FF2B5EF4-FFF2-40B4-BE49-F238E27FC236}">
                <a16:creationId xmlns:a16="http://schemas.microsoft.com/office/drawing/2014/main" id="{6CAD6A59-FF09-83BD-CF55-048C618D77D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2" name="Espace réservé pour une image  14">
            <a:extLst>
              <a:ext uri="{FF2B5EF4-FFF2-40B4-BE49-F238E27FC236}">
                <a16:creationId xmlns:a16="http://schemas.microsoft.com/office/drawing/2014/main" id="{2270B6D3-B398-4D84-E776-FBEF7EA75FB9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3" name="Espace réservé pour une image  14">
            <a:extLst>
              <a:ext uri="{FF2B5EF4-FFF2-40B4-BE49-F238E27FC236}">
                <a16:creationId xmlns:a16="http://schemas.microsoft.com/office/drawing/2014/main" id="{5DBFF0BF-C86C-814E-B36F-BBBAA0F52754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4" name="Espace réservé pour une image  14">
            <a:extLst>
              <a:ext uri="{FF2B5EF4-FFF2-40B4-BE49-F238E27FC236}">
                <a16:creationId xmlns:a16="http://schemas.microsoft.com/office/drawing/2014/main" id="{E726AE8C-307B-2987-95A8-6F7E9A0252DE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12620F5-42B6-A595-4B8A-576787B826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810243861"/>
      </p:ext>
    </p:extLst>
  </p:cSld>
  <p:clrMapOvr>
    <a:masterClrMapping/>
  </p:clrMapOvr>
  <p:transition spd="slow"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90870748-DEBB-7999-E4EA-5505C8D576AB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325425333"/>
      </p:ext>
    </p:extLst>
  </p:cSld>
  <p:clrMapOvr>
    <a:masterClrMapping/>
  </p:clrMapOvr>
  <p:transition spd="slow"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3A90A1F0-EDD6-9649-9002-A9FD386E735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884742381"/>
      </p:ext>
    </p:extLst>
  </p:cSld>
  <p:clrMapOvr>
    <a:masterClrMapping/>
  </p:clrMapOvr>
  <p:transition spd="slow"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1AD089D0-4BDB-8D43-FA23-9FA976E0B15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508788375"/>
      </p:ext>
    </p:extLst>
  </p:cSld>
  <p:clrMapOvr>
    <a:masterClrMapping/>
  </p:clrMapOvr>
  <p:transition spd="slow"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6" name="Espace réservé du texte 14">
            <a:extLst>
              <a:ext uri="{FF2B5EF4-FFF2-40B4-BE49-F238E27FC236}">
                <a16:creationId xmlns:a16="http://schemas.microsoft.com/office/drawing/2014/main" id="{24C4BDD6-3530-4D8F-6435-7481BF63741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83970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7" name="Espace réservé du texte 14">
            <a:extLst>
              <a:ext uri="{FF2B5EF4-FFF2-40B4-BE49-F238E27FC236}">
                <a16:creationId xmlns:a16="http://schemas.microsoft.com/office/drawing/2014/main" id="{28318D23-D16D-A34E-43C5-131B2D3880D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772312" y="3662239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8" name="Espace réservé du texte 14">
            <a:extLst>
              <a:ext uri="{FF2B5EF4-FFF2-40B4-BE49-F238E27FC236}">
                <a16:creationId xmlns:a16="http://schemas.microsoft.com/office/drawing/2014/main" id="{47B1FA81-6AC5-8E1B-72FC-38B38A0A958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760654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9" name="Espace réservé du texte 14">
            <a:extLst>
              <a:ext uri="{FF2B5EF4-FFF2-40B4-BE49-F238E27FC236}">
                <a16:creationId xmlns:a16="http://schemas.microsoft.com/office/drawing/2014/main" id="{CCC34425-40DA-F506-8846-6105F3AC1D2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748998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2BA00AE2-C86C-3D6D-92AA-E480DC9D0FE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008524379"/>
      </p:ext>
    </p:extLst>
  </p:cSld>
  <p:clrMapOvr>
    <a:masterClrMapping/>
  </p:clrMapOvr>
  <p:transition spd="slow"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1" name="Espace réservé de l'élément multimédia 10">
            <a:extLst>
              <a:ext uri="{FF2B5EF4-FFF2-40B4-BE49-F238E27FC236}">
                <a16:creationId xmlns:a16="http://schemas.microsoft.com/office/drawing/2014/main" id="{4345ECB7-0BD1-2615-17F4-F7F83AB072E4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0C12247A-5948-0FCF-AEE1-F51137CFB627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631494421"/>
      </p:ext>
    </p:extLst>
  </p:cSld>
  <p:clrMapOvr>
    <a:masterClrMapping/>
  </p:clrMapOvr>
  <p:transition spd="slow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7BFA75F2-F59E-52B7-C96F-CB0C3E62B4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9803E514-510A-9012-E9F3-2DEA0C1AD84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070457697"/>
      </p:ext>
    </p:extLst>
  </p:cSld>
  <p:clrMapOvr>
    <a:masterClrMapping/>
  </p:clrMapOvr>
  <p:transition spd="slow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21/11/2025</a:t>
            </a:fld>
            <a:endParaRPr lang="fr-F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0515123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Lib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>
            <a:lvl1pPr rtl="1">
              <a:defRPr lang="fr-MA" dirty="0"/>
            </a:lvl1pPr>
          </a:lstStyle>
          <a:p>
            <a:pPr lvl="0"/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1BB9A80-61E4-8F44-A39C-C9F0A149E4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511420184"/>
      </p:ext>
    </p:extLst>
  </p:cSld>
  <p:clrMapOvr>
    <a:masterClrMapping/>
  </p:clrMapOvr>
  <p:transition spd="slow"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 21">
            <a:extLst>
              <a:ext uri="{FF2B5EF4-FFF2-40B4-BE49-F238E27FC236}">
                <a16:creationId xmlns:a16="http://schemas.microsoft.com/office/drawing/2014/main" id="{630A277E-2BC7-C3E2-8989-08599FC0B94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87156" y="2240177"/>
            <a:ext cx="6169687" cy="1188823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3DC4AF98-2B3D-2D34-232F-CF1DDA6BA3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87156" y="3667318"/>
            <a:ext cx="6169687" cy="1207113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89AB1D0D-E890-7F0B-DAD8-7146D4ACACF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487156" y="5113317"/>
            <a:ext cx="6169687" cy="1201016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 rtl="1">
              <a:defRPr b="1"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25" name="Espace réservé du texte 13">
            <a:extLst>
              <a:ext uri="{FF2B5EF4-FFF2-40B4-BE49-F238E27FC236}">
                <a16:creationId xmlns:a16="http://schemas.microsoft.com/office/drawing/2014/main" id="{7D357DBE-F01D-F7D3-FEAE-6DB1B07395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68436" y="2621910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7" name="Espace réservé pour une image  26">
            <a:extLst>
              <a:ext uri="{FF2B5EF4-FFF2-40B4-BE49-F238E27FC236}">
                <a16:creationId xmlns:a16="http://schemas.microsoft.com/office/drawing/2014/main" id="{9C822516-F43E-BECF-7CFF-8A084DC2ACCA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7056000" y="2747910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8" name="Espace réservé du texte 13">
            <a:extLst>
              <a:ext uri="{FF2B5EF4-FFF2-40B4-BE49-F238E27FC236}">
                <a16:creationId xmlns:a16="http://schemas.microsoft.com/office/drawing/2014/main" id="{184F1AD3-1CDF-AC37-6E9B-7B8B5731D67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71774" y="4061170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9" name="Espace réservé pour une image  26">
            <a:extLst>
              <a:ext uri="{FF2B5EF4-FFF2-40B4-BE49-F238E27FC236}">
                <a16:creationId xmlns:a16="http://schemas.microsoft.com/office/drawing/2014/main" id="{C64E9BAC-B4A7-262E-6139-2754B01E6D77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056000" y="4183874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0" name="Espace réservé du texte 13">
            <a:extLst>
              <a:ext uri="{FF2B5EF4-FFF2-40B4-BE49-F238E27FC236}">
                <a16:creationId xmlns:a16="http://schemas.microsoft.com/office/drawing/2014/main" id="{3B1AE6D8-B704-87BC-C392-1092C3DAC2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68436" y="5516007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31" name="Espace réservé pour une image  26">
            <a:extLst>
              <a:ext uri="{FF2B5EF4-FFF2-40B4-BE49-F238E27FC236}">
                <a16:creationId xmlns:a16="http://schemas.microsoft.com/office/drawing/2014/main" id="{B26BF465-B4F4-3D7D-ACF6-20566B03F777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7056000" y="5642007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" name="Espace réservé pour une image  16">
            <a:extLst>
              <a:ext uri="{FF2B5EF4-FFF2-40B4-BE49-F238E27FC236}">
                <a16:creationId xmlns:a16="http://schemas.microsoft.com/office/drawing/2014/main" id="{9AA1E9B8-8D7E-91AE-321E-A93EF886D1A9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105328524"/>
      </p:ext>
    </p:extLst>
  </p:cSld>
  <p:clrMapOvr>
    <a:masterClrMapping/>
  </p:clrMapOvr>
  <p:transition spd="slow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id="{E9371ADD-26AE-A577-29B9-449852C9B6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972000"/>
            <a:ext cx="7886700" cy="720000"/>
          </a:xfrm>
          <a:prstGeom prst="rect">
            <a:avLst/>
          </a:prstGeom>
        </p:spPr>
        <p:txBody>
          <a:bodyPr anchor="ctr"/>
          <a:lstStyle>
            <a:lvl1pPr algn="ctr">
              <a:defRPr lang="fr-MA" sz="3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pPr lvl="0" algn="ctr"/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955465031"/>
      </p:ext>
    </p:extLst>
  </p:cSld>
  <p:clrMapOvr>
    <a:masterClrMapping/>
  </p:clrMapOvr>
  <p:transition spd="slow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E7C9F4DD-B5CC-D217-01BE-8F0408FBBBE9}"/>
              </a:ext>
            </a:extLst>
          </p:cNvPr>
          <p:cNvSpPr/>
          <p:nvPr userDrawn="1"/>
        </p:nvSpPr>
        <p:spPr>
          <a:xfrm>
            <a:off x="628650" y="1260630"/>
            <a:ext cx="5040000" cy="5060272"/>
          </a:xfrm>
          <a:prstGeom prst="roundRect">
            <a:avLst>
              <a:gd name="adj" fmla="val 9429"/>
            </a:avLst>
          </a:prstGeom>
          <a:noFill/>
          <a:ln>
            <a:solidFill>
              <a:srgbClr val="55B6D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0B19A311-316A-D4F7-6713-F6A3F55A887D}"/>
              </a:ext>
            </a:extLst>
          </p:cNvPr>
          <p:cNvSpPr/>
          <p:nvPr userDrawn="1"/>
        </p:nvSpPr>
        <p:spPr>
          <a:xfrm>
            <a:off x="5995350" y="1260630"/>
            <a:ext cx="2520000" cy="5060272"/>
          </a:xfrm>
          <a:prstGeom prst="roundRect">
            <a:avLst>
              <a:gd name="adj" fmla="val 14501"/>
            </a:avLst>
          </a:prstGeom>
          <a:noFill/>
          <a:ln>
            <a:solidFill>
              <a:srgbClr val="55B6D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5" name="Organigramme : Terminateur 4">
            <a:extLst>
              <a:ext uri="{FF2B5EF4-FFF2-40B4-BE49-F238E27FC236}">
                <a16:creationId xmlns:a16="http://schemas.microsoft.com/office/drawing/2014/main" id="{57779EB0-21D6-E7A7-DC14-82C688EFB25B}"/>
              </a:ext>
            </a:extLst>
          </p:cNvPr>
          <p:cNvSpPr/>
          <p:nvPr userDrawn="1"/>
        </p:nvSpPr>
        <p:spPr>
          <a:xfrm>
            <a:off x="2518650" y="1084470"/>
            <a:ext cx="1260000" cy="360000"/>
          </a:xfrm>
          <a:prstGeom prst="flowChartTerminator">
            <a:avLst/>
          </a:prstGeom>
          <a:solidFill>
            <a:srgbClr val="A1D6EC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0" indent="0" algn="ctr" defTabSz="914400" rtl="1" eaLnBrk="1" fontAlgn="auto" latinLnBrk="0" hangingPunct="1">
              <a:buClrTx/>
              <a:buSzTx/>
              <a:buFontTx/>
              <a:buNone/>
              <a:tabLst/>
            </a:pPr>
            <a:r>
              <a:rPr kumimoji="0" lang="ar-MA" sz="2800" b="1" kern="1200" spc="0" normalizeH="0" baseline="0" noProof="0" dirty="0">
                <a:ln>
                  <a:noFill/>
                </a:ln>
                <a:solidFill>
                  <a:srgbClr val="474F71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أستاذ(ة)</a:t>
            </a:r>
            <a:endParaRPr kumimoji="0" lang="fr-MA" sz="2800" b="1" kern="1200" spc="0" normalizeH="0" baseline="0" noProof="0" dirty="0">
              <a:ln>
                <a:noFill/>
              </a:ln>
              <a:solidFill>
                <a:srgbClr val="474F71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6" name="Organigramme : Terminateur 5">
            <a:extLst>
              <a:ext uri="{FF2B5EF4-FFF2-40B4-BE49-F238E27FC236}">
                <a16:creationId xmlns:a16="http://schemas.microsoft.com/office/drawing/2014/main" id="{66CF2EE5-F868-A180-1E83-3CB4FFC175F5}"/>
              </a:ext>
            </a:extLst>
          </p:cNvPr>
          <p:cNvSpPr/>
          <p:nvPr userDrawn="1"/>
        </p:nvSpPr>
        <p:spPr>
          <a:xfrm>
            <a:off x="6625350" y="1084470"/>
            <a:ext cx="1260000" cy="360000"/>
          </a:xfrm>
          <a:prstGeom prst="flowChartTerminator">
            <a:avLst/>
          </a:prstGeom>
          <a:solidFill>
            <a:srgbClr val="A1D6EC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474F71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وسائط</a:t>
            </a:r>
            <a:endParaRPr kumimoji="0" lang="fr-MA" sz="3200" b="1" i="0" u="none" strike="noStrike" kern="1200" cap="none" spc="0" normalizeH="0" baseline="0" noProof="0" dirty="0">
              <a:ln>
                <a:noFill/>
              </a:ln>
              <a:solidFill>
                <a:srgbClr val="474F71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4653E578-1FD8-0703-E211-16311E5A4C7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68650" y="1573748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7">
            <a:extLst>
              <a:ext uri="{FF2B5EF4-FFF2-40B4-BE49-F238E27FC236}">
                <a16:creationId xmlns:a16="http://schemas.microsoft.com/office/drawing/2014/main" id="{5AA58C26-15AC-8A0B-3EE3-F1D1E4A84DC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672000" y="1573748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0" name="Espace réservé pour une image  7">
            <a:extLst>
              <a:ext uri="{FF2B5EF4-FFF2-40B4-BE49-F238E27FC236}">
                <a16:creationId xmlns:a16="http://schemas.microsoft.com/office/drawing/2014/main" id="{F56653E2-D414-4549-F125-11A4CC8D86A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168650" y="4018773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1" name="Espace réservé pour une image  7">
            <a:extLst>
              <a:ext uri="{FF2B5EF4-FFF2-40B4-BE49-F238E27FC236}">
                <a16:creationId xmlns:a16="http://schemas.microsoft.com/office/drawing/2014/main" id="{1E494D86-A745-83E0-6593-1824E67A47D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672000" y="4018773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2" name="Espace réservé pour une image  7">
            <a:extLst>
              <a:ext uri="{FF2B5EF4-FFF2-40B4-BE49-F238E27FC236}">
                <a16:creationId xmlns:a16="http://schemas.microsoft.com/office/drawing/2014/main" id="{92701F09-11E2-C817-B080-03D3CDAEE1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535350" y="1573748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3" name="Espace réservé pour une image  7">
            <a:extLst>
              <a:ext uri="{FF2B5EF4-FFF2-40B4-BE49-F238E27FC236}">
                <a16:creationId xmlns:a16="http://schemas.microsoft.com/office/drawing/2014/main" id="{1690D7F0-DCEA-3629-AFF4-44D5127B0D0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535350" y="4018773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14F94F7C-4C7F-898C-CC70-308A1F8454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71856" y="3146082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5" name="Espace réservé du texte 13">
            <a:extLst>
              <a:ext uri="{FF2B5EF4-FFF2-40B4-BE49-F238E27FC236}">
                <a16:creationId xmlns:a16="http://schemas.microsoft.com/office/drawing/2014/main" id="{4CBE369E-C2C0-D08B-CA99-A44539954DB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75206" y="3154374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6" name="Espace réservé du texte 13">
            <a:extLst>
              <a:ext uri="{FF2B5EF4-FFF2-40B4-BE49-F238E27FC236}">
                <a16:creationId xmlns:a16="http://schemas.microsoft.com/office/drawing/2014/main" id="{7ED83195-42FE-3FDC-0391-9DCD6496140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38556" y="3154374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7" name="Espace réservé du texte 13">
            <a:extLst>
              <a:ext uri="{FF2B5EF4-FFF2-40B4-BE49-F238E27FC236}">
                <a16:creationId xmlns:a16="http://schemas.microsoft.com/office/drawing/2014/main" id="{FB933A37-3B6B-2E30-74DE-FE00D4BC93E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64455" y="5606678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8" name="Espace réservé du texte 13">
            <a:extLst>
              <a:ext uri="{FF2B5EF4-FFF2-40B4-BE49-F238E27FC236}">
                <a16:creationId xmlns:a16="http://schemas.microsoft.com/office/drawing/2014/main" id="{8B95E6E0-0D72-7779-0E2F-18DD9CC4993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67805" y="5614970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9" name="Espace réservé du texte 13">
            <a:extLst>
              <a:ext uri="{FF2B5EF4-FFF2-40B4-BE49-F238E27FC236}">
                <a16:creationId xmlns:a16="http://schemas.microsoft.com/office/drawing/2014/main" id="{1C6D4C40-DCBA-354E-CA6B-4B1D7ADB717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31155" y="5614970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990514064"/>
      </p:ext>
    </p:extLst>
  </p:cSld>
  <p:clrMapOvr>
    <a:masterClrMapping/>
  </p:clrMapOvr>
  <p:transition spd="slow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B7A934E9-D4E5-7ECD-3F55-B99D240A27CF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972000" y="1587500"/>
            <a:ext cx="7200000" cy="4320000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169458980"/>
      </p:ext>
    </p:extLst>
  </p:cSld>
  <p:clrMapOvr>
    <a:masterClrMapping/>
  </p:clrMapOvr>
  <p:transition spd="slow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0F2A5A2-07B7-D4DA-50E5-C4F55CED74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972000"/>
            <a:ext cx="7886700" cy="720000"/>
          </a:xfrm>
          <a:prstGeom prst="rect">
            <a:avLst/>
          </a:prstGeom>
        </p:spPr>
        <p:txBody>
          <a:bodyPr anchor="ctr"/>
          <a:lstStyle>
            <a:lvl1pPr algn="ctr">
              <a:defRPr lang="fr-MA" sz="3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pPr lvl="0" algn="ctr"/>
            <a:r>
              <a:rPr lang="fr-FR" dirty="0"/>
              <a:t>Modifiez le style du titre</a:t>
            </a:r>
            <a:endParaRPr lang="fr-MA" dirty="0"/>
          </a:p>
        </p:txBody>
      </p:sp>
      <p:grpSp>
        <p:nvGrpSpPr>
          <p:cNvPr id="21" name="Groupe 20">
            <a:extLst>
              <a:ext uri="{FF2B5EF4-FFF2-40B4-BE49-F238E27FC236}">
                <a16:creationId xmlns:a16="http://schemas.microsoft.com/office/drawing/2014/main" id="{8757AEE0-EDAD-BCFA-B0C1-E3F26DF7BDB0}"/>
              </a:ext>
            </a:extLst>
          </p:cNvPr>
          <p:cNvGrpSpPr/>
          <p:nvPr userDrawn="1"/>
        </p:nvGrpSpPr>
        <p:grpSpPr>
          <a:xfrm flipH="1">
            <a:off x="4735350" y="5023288"/>
            <a:ext cx="3780000" cy="1332000"/>
            <a:chOff x="4735350" y="5023288"/>
            <a:chExt cx="3780000" cy="1332000"/>
          </a:xfrm>
        </p:grpSpPr>
        <p:sp>
          <p:nvSpPr>
            <p:cNvPr id="3" name="Rectangle : coins arrondis 2">
              <a:extLst>
                <a:ext uri="{FF2B5EF4-FFF2-40B4-BE49-F238E27FC236}">
                  <a16:creationId xmlns:a16="http://schemas.microsoft.com/office/drawing/2014/main" id="{9F1E9647-C23F-0AB7-101C-32D0969E9F60}"/>
                </a:ext>
              </a:extLst>
            </p:cNvPr>
            <p:cNvSpPr/>
            <p:nvPr userDrawn="1"/>
          </p:nvSpPr>
          <p:spPr>
            <a:xfrm>
              <a:off x="4735350" y="5275288"/>
              <a:ext cx="3780000" cy="1080000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  <p:sp>
          <p:nvSpPr>
            <p:cNvPr id="4" name="Organigramme : Terminateur 3">
              <a:extLst>
                <a:ext uri="{FF2B5EF4-FFF2-40B4-BE49-F238E27FC236}">
                  <a16:creationId xmlns:a16="http://schemas.microsoft.com/office/drawing/2014/main" id="{DD7159A8-5CAC-1F2F-AA5A-44097860B98F}"/>
                </a:ext>
              </a:extLst>
            </p:cNvPr>
            <p:cNvSpPr/>
            <p:nvPr userDrawn="1"/>
          </p:nvSpPr>
          <p:spPr>
            <a:xfrm>
              <a:off x="4951350" y="5023288"/>
              <a:ext cx="1260000" cy="360000"/>
            </a:xfrm>
            <a:prstGeom prst="flowChartTerminator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</a:t>
              </a: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 3 - </a:t>
              </a:r>
            </a:p>
          </p:txBody>
        </p:sp>
      </p:grp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DD42F6F4-087E-E434-BA2D-3E6C35CBE2D3}"/>
              </a:ext>
            </a:extLst>
          </p:cNvPr>
          <p:cNvGrpSpPr/>
          <p:nvPr userDrawn="1"/>
        </p:nvGrpSpPr>
        <p:grpSpPr>
          <a:xfrm flipH="1">
            <a:off x="628649" y="5023288"/>
            <a:ext cx="3780000" cy="1332000"/>
            <a:chOff x="628649" y="5023288"/>
            <a:chExt cx="3780000" cy="1332000"/>
          </a:xfrm>
        </p:grpSpPr>
        <p:sp>
          <p:nvSpPr>
            <p:cNvPr id="5" name="Rectangle : coins arrondis 4">
              <a:extLst>
                <a:ext uri="{FF2B5EF4-FFF2-40B4-BE49-F238E27FC236}">
                  <a16:creationId xmlns:a16="http://schemas.microsoft.com/office/drawing/2014/main" id="{C29B8546-2300-CF26-DE2E-38073503AB14}"/>
                </a:ext>
              </a:extLst>
            </p:cNvPr>
            <p:cNvSpPr/>
            <p:nvPr userDrawn="1"/>
          </p:nvSpPr>
          <p:spPr>
            <a:xfrm>
              <a:off x="628649" y="5275288"/>
              <a:ext cx="3780000" cy="1080000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  <p:sp>
          <p:nvSpPr>
            <p:cNvPr id="6" name="Organigramme : Terminateur 5">
              <a:extLst>
                <a:ext uri="{FF2B5EF4-FFF2-40B4-BE49-F238E27FC236}">
                  <a16:creationId xmlns:a16="http://schemas.microsoft.com/office/drawing/2014/main" id="{9F63B16B-0D64-E4B7-A02B-5B9E10FD9E1A}"/>
                </a:ext>
              </a:extLst>
            </p:cNvPr>
            <p:cNvSpPr/>
            <p:nvPr userDrawn="1"/>
          </p:nvSpPr>
          <p:spPr>
            <a:xfrm>
              <a:off x="844649" y="5023288"/>
              <a:ext cx="1260000" cy="360000"/>
            </a:xfrm>
            <a:prstGeom prst="flowChartTerminator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</a:t>
              </a: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 6 - </a:t>
              </a:r>
              <a:endPara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78F03523-197D-A46E-FA54-91A6AFF7F28C}"/>
              </a:ext>
            </a:extLst>
          </p:cNvPr>
          <p:cNvGrpSpPr/>
          <p:nvPr userDrawn="1"/>
        </p:nvGrpSpPr>
        <p:grpSpPr>
          <a:xfrm flipH="1">
            <a:off x="4735350" y="3482113"/>
            <a:ext cx="3780000" cy="1332000"/>
            <a:chOff x="4735350" y="3482113"/>
            <a:chExt cx="3780000" cy="1332000"/>
          </a:xfrm>
        </p:grpSpPr>
        <p:sp>
          <p:nvSpPr>
            <p:cNvPr id="7" name="Rectangle : coins arrondis 6">
              <a:extLst>
                <a:ext uri="{FF2B5EF4-FFF2-40B4-BE49-F238E27FC236}">
                  <a16:creationId xmlns:a16="http://schemas.microsoft.com/office/drawing/2014/main" id="{076ABA10-32B5-B604-0B98-F854920B1C35}"/>
                </a:ext>
              </a:extLst>
            </p:cNvPr>
            <p:cNvSpPr/>
            <p:nvPr userDrawn="1"/>
          </p:nvSpPr>
          <p:spPr>
            <a:xfrm>
              <a:off x="4735350" y="3734113"/>
              <a:ext cx="3780000" cy="1080000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  <p:sp>
          <p:nvSpPr>
            <p:cNvPr id="8" name="Organigramme : Terminateur 7">
              <a:extLst>
                <a:ext uri="{FF2B5EF4-FFF2-40B4-BE49-F238E27FC236}">
                  <a16:creationId xmlns:a16="http://schemas.microsoft.com/office/drawing/2014/main" id="{8D09FAA9-8B01-B85B-6AD2-AA1306C99B4F}"/>
                </a:ext>
              </a:extLst>
            </p:cNvPr>
            <p:cNvSpPr/>
            <p:nvPr userDrawn="1"/>
          </p:nvSpPr>
          <p:spPr>
            <a:xfrm>
              <a:off x="4951350" y="3482113"/>
              <a:ext cx="1260000" cy="360000"/>
            </a:xfrm>
            <a:prstGeom prst="flowChartTerminator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</a:t>
              </a: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2 - </a:t>
              </a:r>
              <a:endPara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endParaRPr>
            </a:p>
          </p:txBody>
        </p:sp>
      </p:grp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B7C6E9F6-C279-AB3D-B941-74079D24BBA4}"/>
              </a:ext>
            </a:extLst>
          </p:cNvPr>
          <p:cNvGrpSpPr/>
          <p:nvPr userDrawn="1"/>
        </p:nvGrpSpPr>
        <p:grpSpPr>
          <a:xfrm flipH="1">
            <a:off x="628649" y="3482113"/>
            <a:ext cx="3780000" cy="1332000"/>
            <a:chOff x="628649" y="3482113"/>
            <a:chExt cx="3780000" cy="1332000"/>
          </a:xfrm>
        </p:grpSpPr>
        <p:sp>
          <p:nvSpPr>
            <p:cNvPr id="9" name="Rectangle : coins arrondis 8">
              <a:extLst>
                <a:ext uri="{FF2B5EF4-FFF2-40B4-BE49-F238E27FC236}">
                  <a16:creationId xmlns:a16="http://schemas.microsoft.com/office/drawing/2014/main" id="{43917791-49A0-A179-89BD-9B276594FD5C}"/>
                </a:ext>
              </a:extLst>
            </p:cNvPr>
            <p:cNvSpPr/>
            <p:nvPr userDrawn="1"/>
          </p:nvSpPr>
          <p:spPr>
            <a:xfrm>
              <a:off x="628649" y="3734113"/>
              <a:ext cx="3780000" cy="1080000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  <p:sp>
          <p:nvSpPr>
            <p:cNvPr id="10" name="Organigramme : Terminateur 9">
              <a:extLst>
                <a:ext uri="{FF2B5EF4-FFF2-40B4-BE49-F238E27FC236}">
                  <a16:creationId xmlns:a16="http://schemas.microsoft.com/office/drawing/2014/main" id="{F9D3FD68-51AA-4AAC-DA0F-FC1598DFD10B}"/>
                </a:ext>
              </a:extLst>
            </p:cNvPr>
            <p:cNvSpPr/>
            <p:nvPr userDrawn="1"/>
          </p:nvSpPr>
          <p:spPr>
            <a:xfrm>
              <a:off x="844649" y="3482113"/>
              <a:ext cx="1260000" cy="360000"/>
            </a:xfrm>
            <a:prstGeom prst="flowChartTerminator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</a:t>
              </a: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5 -</a:t>
              </a:r>
            </a:p>
          </p:txBody>
        </p:sp>
      </p:grp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C3FC77E3-3855-7B01-0EC8-80864EDB69DD}"/>
              </a:ext>
            </a:extLst>
          </p:cNvPr>
          <p:cNvGrpSpPr/>
          <p:nvPr userDrawn="1"/>
        </p:nvGrpSpPr>
        <p:grpSpPr>
          <a:xfrm flipH="1">
            <a:off x="4716000" y="1944000"/>
            <a:ext cx="3780000" cy="1332000"/>
            <a:chOff x="4716000" y="1944000"/>
            <a:chExt cx="3780000" cy="1332000"/>
          </a:xfrm>
        </p:grpSpPr>
        <p:sp>
          <p:nvSpPr>
            <p:cNvPr id="11" name="Rectangle : coins arrondis 10">
              <a:extLst>
                <a:ext uri="{FF2B5EF4-FFF2-40B4-BE49-F238E27FC236}">
                  <a16:creationId xmlns:a16="http://schemas.microsoft.com/office/drawing/2014/main" id="{CC537851-8C6F-4D1B-3353-B99C763FE6F0}"/>
                </a:ext>
              </a:extLst>
            </p:cNvPr>
            <p:cNvSpPr/>
            <p:nvPr userDrawn="1"/>
          </p:nvSpPr>
          <p:spPr>
            <a:xfrm>
              <a:off x="4716000" y="2196000"/>
              <a:ext cx="3780000" cy="1080000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  <p:sp>
          <p:nvSpPr>
            <p:cNvPr id="12" name="Organigramme : Terminateur 11">
              <a:extLst>
                <a:ext uri="{FF2B5EF4-FFF2-40B4-BE49-F238E27FC236}">
                  <a16:creationId xmlns:a16="http://schemas.microsoft.com/office/drawing/2014/main" id="{E95BC511-E9AF-223A-8E8C-7786DA7A9B1E}"/>
                </a:ext>
              </a:extLst>
            </p:cNvPr>
            <p:cNvSpPr/>
            <p:nvPr userDrawn="1"/>
          </p:nvSpPr>
          <p:spPr>
            <a:xfrm>
              <a:off x="4932000" y="1944000"/>
              <a:ext cx="1260000" cy="360000"/>
            </a:xfrm>
            <a:prstGeom prst="flowChartTerminator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</a:t>
              </a: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1 - </a:t>
              </a:r>
            </a:p>
          </p:txBody>
        </p:sp>
      </p:grpSp>
      <p:sp>
        <p:nvSpPr>
          <p:cNvPr id="15" name="Espace réservé du texte 5">
            <a:extLst>
              <a:ext uri="{FF2B5EF4-FFF2-40B4-BE49-F238E27FC236}">
                <a16:creationId xmlns:a16="http://schemas.microsoft.com/office/drawing/2014/main" id="{D174E1EA-100E-B3C4-9105-A0B081A78EFB}"/>
              </a:ext>
            </a:extLst>
          </p:cNvPr>
          <p:cNvSpPr txBox="1">
            <a:spLocks/>
          </p:cNvSpPr>
          <p:nvPr userDrawn="1"/>
        </p:nvSpPr>
        <p:spPr>
          <a:xfrm>
            <a:off x="808649" y="5477988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defPPr>
              <a:defRPr lang="fr-FR"/>
            </a:defPPr>
            <a:lvl1pPr marL="269875" indent="-269875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Dosis SemiBold" pitchFamily="2" charset="0"/>
              </a:defRPr>
            </a:lvl1pPr>
            <a:lvl2pPr marL="685800" indent="-22860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100">
                <a:solidFill>
                  <a:srgbClr val="757575"/>
                </a:solidFill>
                <a:latin typeface="Dosis SemiBold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269875" marR="0" lvl="0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m"/>
              <a:tabLst/>
              <a:defRPr/>
            </a:pPr>
            <a:r>
              <a:rPr kumimoji="0" lang="fr-MA" sz="12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Révision</a:t>
            </a:r>
          </a:p>
          <a:p>
            <a:pPr marL="269875" marR="0" lvl="0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m"/>
              <a:tabLst/>
              <a:defRPr/>
            </a:pPr>
            <a:r>
              <a:rPr kumimoji="0" lang="fr-MA" sz="12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Lecture offerte</a:t>
            </a:r>
          </a:p>
        </p:txBody>
      </p: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8C5080DA-EEE4-B0DB-4320-B6333D61EC3F}"/>
              </a:ext>
            </a:extLst>
          </p:cNvPr>
          <p:cNvGrpSpPr/>
          <p:nvPr userDrawn="1"/>
        </p:nvGrpSpPr>
        <p:grpSpPr>
          <a:xfrm flipH="1">
            <a:off x="648000" y="1944000"/>
            <a:ext cx="3780000" cy="1332000"/>
            <a:chOff x="648000" y="1944000"/>
            <a:chExt cx="3780000" cy="1332000"/>
          </a:xfrm>
        </p:grpSpPr>
        <p:sp>
          <p:nvSpPr>
            <p:cNvPr id="19" name="Rectangle : coins arrondis 18">
              <a:extLst>
                <a:ext uri="{FF2B5EF4-FFF2-40B4-BE49-F238E27FC236}">
                  <a16:creationId xmlns:a16="http://schemas.microsoft.com/office/drawing/2014/main" id="{FF956EF7-1C04-B75A-99DB-1610B0777584}"/>
                </a:ext>
              </a:extLst>
            </p:cNvPr>
            <p:cNvSpPr/>
            <p:nvPr/>
          </p:nvSpPr>
          <p:spPr>
            <a:xfrm>
              <a:off x="648000" y="2196000"/>
              <a:ext cx="3780000" cy="1080000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  <p:sp>
          <p:nvSpPr>
            <p:cNvPr id="20" name="Organigramme : Terminateur 19">
              <a:extLst>
                <a:ext uri="{FF2B5EF4-FFF2-40B4-BE49-F238E27FC236}">
                  <a16:creationId xmlns:a16="http://schemas.microsoft.com/office/drawing/2014/main" id="{E1429BD4-3BA4-BBFA-4BEF-AD11475F7BBB}"/>
                </a:ext>
              </a:extLst>
            </p:cNvPr>
            <p:cNvSpPr/>
            <p:nvPr/>
          </p:nvSpPr>
          <p:spPr>
            <a:xfrm>
              <a:off x="864000" y="1944000"/>
              <a:ext cx="1260000" cy="360000"/>
            </a:xfrm>
            <a:prstGeom prst="flowChartTerminator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</a:t>
              </a: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 4 - </a:t>
              </a:r>
            </a:p>
          </p:txBody>
        </p:sp>
      </p:grpSp>
      <p:sp>
        <p:nvSpPr>
          <p:cNvPr id="26" name="Espace réservé du texte 25">
            <a:extLst>
              <a:ext uri="{FF2B5EF4-FFF2-40B4-BE49-F238E27FC236}">
                <a16:creationId xmlns:a16="http://schemas.microsoft.com/office/drawing/2014/main" id="{5309429C-1039-2C54-E46D-AB6F245EAE6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0611" y="2395288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algn="r" rtl="1">
              <a:defRPr lang="fr-FR" sz="1200" smtClean="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457200" indent="0">
              <a:buNone/>
              <a:defRPr lang="fr-FR" sz="1100" smtClean="0">
                <a:solidFill>
                  <a:srgbClr val="757575"/>
                </a:solidFill>
                <a:latin typeface="Dosis SemiBold" pitchFamily="2" charset="0"/>
              </a:defRPr>
            </a:lvl2pPr>
            <a:lvl3pPr>
              <a:defRPr lang="fr-FR" sz="1100" smtClean="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lang="fr-FR" sz="1050" smtClean="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lang="fr-MA"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marL="266700" lvl="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</a:pPr>
            <a:r>
              <a:rPr lang="fr-FR" dirty="0"/>
              <a:t>Cliquez pour modifier les styles du texte du masque</a:t>
            </a:r>
          </a:p>
        </p:txBody>
      </p:sp>
      <p:sp>
        <p:nvSpPr>
          <p:cNvPr id="27" name="Espace réservé du texte 25">
            <a:extLst>
              <a:ext uri="{FF2B5EF4-FFF2-40B4-BE49-F238E27FC236}">
                <a16:creationId xmlns:a16="http://schemas.microsoft.com/office/drawing/2014/main" id="{804D03EF-3A2B-E15D-3E5B-9B72509A83C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909142" y="2395288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algn="r" rtl="1">
              <a:defRPr lang="fr-FR" sz="1200" smtClean="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457200" indent="0">
              <a:buNone/>
              <a:defRPr lang="fr-FR" sz="1100" smtClean="0">
                <a:solidFill>
                  <a:srgbClr val="757575"/>
                </a:solidFill>
                <a:latin typeface="Dosis SemiBold" pitchFamily="2" charset="0"/>
              </a:defRPr>
            </a:lvl2pPr>
            <a:lvl3pPr>
              <a:defRPr lang="fr-FR" sz="1100" smtClean="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lang="fr-FR" sz="1050" smtClean="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lang="fr-MA"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marL="266700" lvl="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</a:pPr>
            <a:r>
              <a:rPr lang="fr-FR" dirty="0"/>
              <a:t>Cliquez pour modifier les styles du texte du masque</a:t>
            </a:r>
          </a:p>
        </p:txBody>
      </p:sp>
      <p:sp>
        <p:nvSpPr>
          <p:cNvPr id="28" name="Espace réservé du texte 25">
            <a:extLst>
              <a:ext uri="{FF2B5EF4-FFF2-40B4-BE49-F238E27FC236}">
                <a16:creationId xmlns:a16="http://schemas.microsoft.com/office/drawing/2014/main" id="{37C3B835-3703-D664-EDC0-55915565194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0611" y="3936813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algn="r" rtl="1">
              <a:defRPr lang="fr-FR" sz="1200" smtClean="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457200" indent="0">
              <a:buNone/>
              <a:defRPr lang="fr-FR" sz="1100" smtClean="0">
                <a:solidFill>
                  <a:srgbClr val="757575"/>
                </a:solidFill>
                <a:latin typeface="Dosis SemiBold" pitchFamily="2" charset="0"/>
              </a:defRPr>
            </a:lvl2pPr>
            <a:lvl3pPr>
              <a:defRPr lang="fr-FR" sz="1100" smtClean="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lang="fr-FR" sz="1050" smtClean="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lang="fr-MA"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marL="266700" lvl="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</a:pPr>
            <a:r>
              <a:rPr lang="fr-FR" dirty="0"/>
              <a:t>Cliquez pour modifier les styles du texte du masque</a:t>
            </a:r>
          </a:p>
        </p:txBody>
      </p:sp>
      <p:sp>
        <p:nvSpPr>
          <p:cNvPr id="29" name="Espace réservé du texte 25">
            <a:extLst>
              <a:ext uri="{FF2B5EF4-FFF2-40B4-BE49-F238E27FC236}">
                <a16:creationId xmlns:a16="http://schemas.microsoft.com/office/drawing/2014/main" id="{17275B2B-E189-AEF4-7C55-C06676186A1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09142" y="3936813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algn="r" rtl="1">
              <a:defRPr lang="fr-FR" sz="1200" smtClean="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457200" indent="0">
              <a:buNone/>
              <a:defRPr lang="fr-FR" sz="1100" smtClean="0">
                <a:solidFill>
                  <a:srgbClr val="757575"/>
                </a:solidFill>
                <a:latin typeface="Dosis SemiBold" pitchFamily="2" charset="0"/>
              </a:defRPr>
            </a:lvl2pPr>
            <a:lvl3pPr>
              <a:defRPr lang="fr-FR" sz="1100" smtClean="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lang="fr-FR" sz="1050" smtClean="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lang="fr-MA"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marL="266700" lvl="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</a:pPr>
            <a:r>
              <a:rPr lang="fr-FR" dirty="0"/>
              <a:t>Cliquez pour modifier les styles du texte du masque</a:t>
            </a:r>
          </a:p>
        </p:txBody>
      </p:sp>
      <p:sp>
        <p:nvSpPr>
          <p:cNvPr id="30" name="Espace réservé du texte 25">
            <a:extLst>
              <a:ext uri="{FF2B5EF4-FFF2-40B4-BE49-F238E27FC236}">
                <a16:creationId xmlns:a16="http://schemas.microsoft.com/office/drawing/2014/main" id="{35F22259-A426-1C6B-4A60-50940908B1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0611" y="5474576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algn="r" rtl="1">
              <a:defRPr lang="fr-FR" sz="1200" smtClean="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457200" indent="0">
              <a:buNone/>
              <a:defRPr lang="fr-FR" sz="1100" smtClean="0">
                <a:solidFill>
                  <a:srgbClr val="757575"/>
                </a:solidFill>
                <a:latin typeface="Dosis SemiBold" pitchFamily="2" charset="0"/>
              </a:defRPr>
            </a:lvl2pPr>
            <a:lvl3pPr>
              <a:defRPr lang="fr-FR" sz="1100" smtClean="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lang="fr-FR" sz="1050" smtClean="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lang="fr-MA"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marL="266700" lvl="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</a:pPr>
            <a:r>
              <a:rPr lang="fr-FR" dirty="0"/>
              <a:t>Cliquez pour modifier les styles du texte du masque</a:t>
            </a:r>
          </a:p>
        </p:txBody>
      </p:sp>
      <p:sp>
        <p:nvSpPr>
          <p:cNvPr id="31" name="Espace réservé du texte 25">
            <a:extLst>
              <a:ext uri="{FF2B5EF4-FFF2-40B4-BE49-F238E27FC236}">
                <a16:creationId xmlns:a16="http://schemas.microsoft.com/office/drawing/2014/main" id="{B9583407-B6F3-0B8E-9991-D458D8A7CB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09142" y="5474576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algn="r" rtl="1">
              <a:defRPr lang="fr-FR" sz="1200" smtClean="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457200" indent="0">
              <a:buNone/>
              <a:defRPr lang="fr-FR" sz="1100" smtClean="0">
                <a:solidFill>
                  <a:srgbClr val="757575"/>
                </a:solidFill>
                <a:latin typeface="Dosis SemiBold" pitchFamily="2" charset="0"/>
              </a:defRPr>
            </a:lvl2pPr>
            <a:lvl3pPr>
              <a:defRPr lang="fr-FR" sz="1100" smtClean="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lang="fr-FR" sz="1050" smtClean="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lang="fr-MA"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marL="266700" lvl="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</a:pPr>
            <a:r>
              <a:rPr lang="fr-FR" dirty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711537257"/>
      </p:ext>
    </p:extLst>
  </p:cSld>
  <p:clrMapOvr>
    <a:masterClrMapping/>
  </p:clrMapOvr>
  <p:transition spd="slow"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FF45224-BA7F-8144-8607-A09DDE3704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976039"/>
            <a:ext cx="7886700" cy="705267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rgbClr val="474F71"/>
                </a:solidFill>
                <a:latin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0F34C4EC-38D2-DF0E-79EE-51FD9A9B44D8}"/>
              </a:ext>
            </a:extLst>
          </p:cNvPr>
          <p:cNvSpPr/>
          <p:nvPr userDrawn="1"/>
        </p:nvSpPr>
        <p:spPr>
          <a:xfrm>
            <a:off x="612000" y="2196000"/>
            <a:ext cx="3780000" cy="1080000"/>
          </a:xfrm>
          <a:prstGeom prst="roundRect">
            <a:avLst/>
          </a:prstGeom>
          <a:solidFill>
            <a:srgbClr val="A1D6EC"/>
          </a:solidFill>
          <a:ln>
            <a:solidFill>
              <a:schemeClr val="accent5"/>
            </a:solidFill>
          </a:ln>
          <a:effectLst>
            <a:outerShdw blurRad="38100" dist="25400" dir="2700000" algn="tl" rotWithShape="0">
              <a:srgbClr val="00B0F0">
                <a:alpha val="40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4" name="Organigramme : Terminateur 3">
            <a:extLst>
              <a:ext uri="{FF2B5EF4-FFF2-40B4-BE49-F238E27FC236}">
                <a16:creationId xmlns:a16="http://schemas.microsoft.com/office/drawing/2014/main" id="{38E0A981-512D-DDF2-8598-875BCCC3C132}"/>
              </a:ext>
            </a:extLst>
          </p:cNvPr>
          <p:cNvSpPr/>
          <p:nvPr userDrawn="1"/>
        </p:nvSpPr>
        <p:spPr>
          <a:xfrm>
            <a:off x="828000" y="1944000"/>
            <a:ext cx="1260000" cy="360000"/>
          </a:xfrm>
          <a:prstGeom prst="flowChartTerminator">
            <a:avLst/>
          </a:prstGeom>
          <a:solidFill>
            <a:srgbClr val="A1D6EC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srgbClr val="474F71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rPr>
              <a:t>Séance 1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E9368326-A537-80A0-9302-1EE9F91FF39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92000" y="2395639"/>
            <a:ext cx="3420000" cy="792000"/>
          </a:xfrm>
          <a:prstGeom prst="roundRect">
            <a:avLst/>
          </a:prstGeom>
          <a:solidFill>
            <a:srgbClr val="E6F3FA"/>
          </a:solidFill>
        </p:spPr>
        <p:txBody>
          <a:bodyPr anchor="ctr"/>
          <a:lstStyle>
            <a:lvl1pPr marL="269875" indent="-269875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"/>
              <a:defRPr sz="1200">
                <a:solidFill>
                  <a:srgbClr val="474F71"/>
                </a:solidFill>
                <a:latin typeface="Microsoft Uighur" panose="02000000000000000000" pitchFamily="2" charset="-78"/>
                <a:sym typeface="Wingdings" panose="05000000000000000000" pitchFamily="2" charset="2"/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1100">
                <a:solidFill>
                  <a:srgbClr val="474F71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876AB203-C4D4-63C1-C9BD-6180ADF322D9}"/>
              </a:ext>
            </a:extLst>
          </p:cNvPr>
          <p:cNvSpPr/>
          <p:nvPr userDrawn="1"/>
        </p:nvSpPr>
        <p:spPr>
          <a:xfrm>
            <a:off x="4716000" y="2196000"/>
            <a:ext cx="3780000" cy="1080000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solidFill>
              <a:srgbClr val="75757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8" name="Organigramme : Terminateur 7">
            <a:extLst>
              <a:ext uri="{FF2B5EF4-FFF2-40B4-BE49-F238E27FC236}">
                <a16:creationId xmlns:a16="http://schemas.microsoft.com/office/drawing/2014/main" id="{72211034-E5CD-05DB-42AD-0BC0C22E5903}"/>
              </a:ext>
            </a:extLst>
          </p:cNvPr>
          <p:cNvSpPr/>
          <p:nvPr userDrawn="1"/>
        </p:nvSpPr>
        <p:spPr>
          <a:xfrm>
            <a:off x="4932000" y="1944000"/>
            <a:ext cx="1260000" cy="360000"/>
          </a:xfrm>
          <a:prstGeom prst="flowChartTerminator">
            <a:avLst/>
          </a:prstGeom>
          <a:solidFill>
            <a:schemeClr val="bg2">
              <a:lumMod val="75000"/>
            </a:schemeClr>
          </a:solidFill>
          <a:ln>
            <a:solidFill>
              <a:srgbClr val="75757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rPr>
              <a:t>Séance 4</a:t>
            </a:r>
          </a:p>
        </p:txBody>
      </p:sp>
      <p:sp>
        <p:nvSpPr>
          <p:cNvPr id="9" name="Espace réservé du texte 5">
            <a:extLst>
              <a:ext uri="{FF2B5EF4-FFF2-40B4-BE49-F238E27FC236}">
                <a16:creationId xmlns:a16="http://schemas.microsoft.com/office/drawing/2014/main" id="{3A2F45E5-0D2B-B4F1-5CD0-221F082189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896000" y="2395639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marL="26670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828C7C5B-D002-002E-FEE3-B7A0B6B29B84}"/>
              </a:ext>
            </a:extLst>
          </p:cNvPr>
          <p:cNvSpPr/>
          <p:nvPr userDrawn="1"/>
        </p:nvSpPr>
        <p:spPr>
          <a:xfrm>
            <a:off x="628649" y="3708000"/>
            <a:ext cx="3780000" cy="1080000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solidFill>
              <a:srgbClr val="75757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18" name="Organigramme : Terminateur 17">
            <a:extLst>
              <a:ext uri="{FF2B5EF4-FFF2-40B4-BE49-F238E27FC236}">
                <a16:creationId xmlns:a16="http://schemas.microsoft.com/office/drawing/2014/main" id="{A35578E3-0C86-555B-DF74-F22BC26A843E}"/>
              </a:ext>
            </a:extLst>
          </p:cNvPr>
          <p:cNvSpPr/>
          <p:nvPr userDrawn="1"/>
        </p:nvSpPr>
        <p:spPr>
          <a:xfrm>
            <a:off x="828000" y="3429825"/>
            <a:ext cx="1260000" cy="360000"/>
          </a:xfrm>
          <a:prstGeom prst="flowChartTerminator">
            <a:avLst/>
          </a:prstGeom>
          <a:solidFill>
            <a:schemeClr val="bg2">
              <a:lumMod val="75000"/>
            </a:schemeClr>
          </a:solidFill>
          <a:ln>
            <a:solidFill>
              <a:srgbClr val="75757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rPr>
              <a:t>Séance 2</a:t>
            </a:r>
          </a:p>
        </p:txBody>
      </p:sp>
      <p:sp>
        <p:nvSpPr>
          <p:cNvPr id="19" name="Espace réservé du texte 5">
            <a:extLst>
              <a:ext uri="{FF2B5EF4-FFF2-40B4-BE49-F238E27FC236}">
                <a16:creationId xmlns:a16="http://schemas.microsoft.com/office/drawing/2014/main" id="{FE19DBD7-3323-C0FE-A7C0-054D4D6947A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8649" y="3936813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marL="26670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Ð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0" name="Rectangle : coins arrondis 19">
            <a:extLst>
              <a:ext uri="{FF2B5EF4-FFF2-40B4-BE49-F238E27FC236}">
                <a16:creationId xmlns:a16="http://schemas.microsoft.com/office/drawing/2014/main" id="{A8DBAB32-5108-FCF6-2E8F-44876E1F3A86}"/>
              </a:ext>
            </a:extLst>
          </p:cNvPr>
          <p:cNvSpPr/>
          <p:nvPr userDrawn="1"/>
        </p:nvSpPr>
        <p:spPr>
          <a:xfrm>
            <a:off x="628649" y="5275288"/>
            <a:ext cx="3780000" cy="1080000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solidFill>
              <a:srgbClr val="75757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1" name="Organigramme : Terminateur 20">
            <a:extLst>
              <a:ext uri="{FF2B5EF4-FFF2-40B4-BE49-F238E27FC236}">
                <a16:creationId xmlns:a16="http://schemas.microsoft.com/office/drawing/2014/main" id="{B810E982-403C-2AEF-3862-CB8B7F890D65}"/>
              </a:ext>
            </a:extLst>
          </p:cNvPr>
          <p:cNvSpPr/>
          <p:nvPr userDrawn="1"/>
        </p:nvSpPr>
        <p:spPr>
          <a:xfrm>
            <a:off x="828000" y="4971000"/>
            <a:ext cx="1260000" cy="360000"/>
          </a:xfrm>
          <a:prstGeom prst="flowChartTerminator">
            <a:avLst/>
          </a:prstGeom>
          <a:solidFill>
            <a:schemeClr val="bg2">
              <a:lumMod val="75000"/>
            </a:schemeClr>
          </a:solidFill>
          <a:ln>
            <a:solidFill>
              <a:srgbClr val="75757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rPr>
              <a:t>Séance 3</a:t>
            </a:r>
          </a:p>
        </p:txBody>
      </p:sp>
      <p:sp>
        <p:nvSpPr>
          <p:cNvPr id="22" name="Espace réservé du texte 5">
            <a:extLst>
              <a:ext uri="{FF2B5EF4-FFF2-40B4-BE49-F238E27FC236}">
                <a16:creationId xmlns:a16="http://schemas.microsoft.com/office/drawing/2014/main" id="{578E4694-7E2B-3E51-F604-26B60BCB0C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08649" y="5477988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marL="26670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Ð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3" name="Rectangle : coins arrondis 22">
            <a:extLst>
              <a:ext uri="{FF2B5EF4-FFF2-40B4-BE49-F238E27FC236}">
                <a16:creationId xmlns:a16="http://schemas.microsoft.com/office/drawing/2014/main" id="{09EF5DAB-AFE5-A7BB-ECBF-E6D0E54DC52C}"/>
              </a:ext>
            </a:extLst>
          </p:cNvPr>
          <p:cNvSpPr/>
          <p:nvPr userDrawn="1"/>
        </p:nvSpPr>
        <p:spPr>
          <a:xfrm>
            <a:off x="4735350" y="3734113"/>
            <a:ext cx="3780000" cy="1080000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solidFill>
              <a:srgbClr val="75757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4" name="Organigramme : Terminateur 23">
            <a:extLst>
              <a:ext uri="{FF2B5EF4-FFF2-40B4-BE49-F238E27FC236}">
                <a16:creationId xmlns:a16="http://schemas.microsoft.com/office/drawing/2014/main" id="{867828EE-B1E5-9F8B-0D7C-A5A846A60ACE}"/>
              </a:ext>
            </a:extLst>
          </p:cNvPr>
          <p:cNvSpPr/>
          <p:nvPr userDrawn="1"/>
        </p:nvSpPr>
        <p:spPr>
          <a:xfrm>
            <a:off x="4932000" y="3429825"/>
            <a:ext cx="1260000" cy="360000"/>
          </a:xfrm>
          <a:prstGeom prst="flowChartTerminator">
            <a:avLst/>
          </a:prstGeom>
          <a:solidFill>
            <a:schemeClr val="bg2">
              <a:lumMod val="75000"/>
            </a:schemeClr>
          </a:solidFill>
          <a:ln>
            <a:solidFill>
              <a:srgbClr val="75757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rPr>
              <a:t>Séance 5</a:t>
            </a:r>
          </a:p>
        </p:txBody>
      </p:sp>
      <p:sp>
        <p:nvSpPr>
          <p:cNvPr id="25" name="Espace réservé du texte 5">
            <a:extLst>
              <a:ext uri="{FF2B5EF4-FFF2-40B4-BE49-F238E27FC236}">
                <a16:creationId xmlns:a16="http://schemas.microsoft.com/office/drawing/2014/main" id="{DD324492-66B3-DE4C-8000-A60CFAE496A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915350" y="3936813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marL="269875" indent="-269875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6" name="Rectangle : coins arrondis 25">
            <a:extLst>
              <a:ext uri="{FF2B5EF4-FFF2-40B4-BE49-F238E27FC236}">
                <a16:creationId xmlns:a16="http://schemas.microsoft.com/office/drawing/2014/main" id="{EF2B26AA-471C-2E08-9C98-93BB32368F48}"/>
              </a:ext>
            </a:extLst>
          </p:cNvPr>
          <p:cNvSpPr/>
          <p:nvPr userDrawn="1"/>
        </p:nvSpPr>
        <p:spPr>
          <a:xfrm>
            <a:off x="4735350" y="5275288"/>
            <a:ext cx="3780000" cy="1080000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solidFill>
              <a:srgbClr val="75757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7" name="Organigramme : Terminateur 26">
            <a:extLst>
              <a:ext uri="{FF2B5EF4-FFF2-40B4-BE49-F238E27FC236}">
                <a16:creationId xmlns:a16="http://schemas.microsoft.com/office/drawing/2014/main" id="{48A37FD4-80CC-1828-6DF5-5882F04CAB2A}"/>
              </a:ext>
            </a:extLst>
          </p:cNvPr>
          <p:cNvSpPr/>
          <p:nvPr userDrawn="1"/>
        </p:nvSpPr>
        <p:spPr>
          <a:xfrm>
            <a:off x="4932000" y="4971000"/>
            <a:ext cx="1260000" cy="360000"/>
          </a:xfrm>
          <a:prstGeom prst="flowChartTerminator">
            <a:avLst/>
          </a:prstGeom>
          <a:solidFill>
            <a:schemeClr val="bg2">
              <a:lumMod val="75000"/>
            </a:schemeClr>
          </a:solidFill>
          <a:ln>
            <a:solidFill>
              <a:srgbClr val="75757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rPr>
              <a:t>Séance 6</a:t>
            </a:r>
          </a:p>
        </p:txBody>
      </p:sp>
      <p:sp>
        <p:nvSpPr>
          <p:cNvPr id="28" name="Espace réservé du texte 5">
            <a:extLst>
              <a:ext uri="{FF2B5EF4-FFF2-40B4-BE49-F238E27FC236}">
                <a16:creationId xmlns:a16="http://schemas.microsoft.com/office/drawing/2014/main" id="{36806FA2-43DA-8964-E325-6EA04158668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915350" y="5477988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marL="26670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Ð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00519447"/>
      </p:ext>
    </p:extLst>
  </p:cSld>
  <p:clrMapOvr>
    <a:masterClrMapping/>
  </p:clrMapOvr>
  <p:transition spd="slow"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Disposition personnalisée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 23">
            <a:extLst>
              <a:ext uri="{FF2B5EF4-FFF2-40B4-BE49-F238E27FC236}">
                <a16:creationId xmlns:a16="http://schemas.microsoft.com/office/drawing/2014/main" id="{C1636943-B7ED-9DE9-05E7-0EF7269D816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85387" y="1805842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/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177D1CC0-8A13-B399-A07F-823E203718E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29063" y="1851798"/>
            <a:ext cx="544953" cy="540000"/>
          </a:xfrm>
          <a:prstGeom prst="rect">
            <a:avLst/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id="{6BDEABDE-DF85-2C7F-016B-8BB6AEE8988A}"/>
              </a:ext>
            </a:extLst>
          </p:cNvPr>
          <p:cNvSpPr txBox="1"/>
          <p:nvPr userDrawn="1"/>
        </p:nvSpPr>
        <p:spPr>
          <a:xfrm>
            <a:off x="4749553" y="1780565"/>
            <a:ext cx="1779510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 - 01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نشاط الاعتيادي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4357CEDB-D7C0-6190-51B4-5912E1EF234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43225" y="5597907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650" y="895981"/>
            <a:ext cx="7886700" cy="705267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rgbClr val="474F71"/>
                </a:solidFill>
                <a:latin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774F252E-D349-CF92-A916-6A80516394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43225" y="3087519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1207" y="3144539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7AA3FD7D-A058-EEFF-B5E0-B9773B884245}"/>
              </a:ext>
            </a:extLst>
          </p:cNvPr>
          <p:cNvSpPr txBox="1"/>
          <p:nvPr userDrawn="1"/>
        </p:nvSpPr>
        <p:spPr>
          <a:xfrm>
            <a:off x="5687792" y="3100065"/>
            <a:ext cx="73930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2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عجم</a:t>
            </a:r>
            <a:endParaRPr kumimoji="0" lang="fr-MA" sz="1600" b="0" i="0" u="none" strike="noStrike" kern="1200" cap="none" spc="0" normalizeH="0" baseline="0" noProof="0" dirty="0">
              <a:ln>
                <a:noFill/>
              </a:ln>
              <a:solidFill>
                <a:srgbClr val="757575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9EC8C79E-4B15-7487-6A1B-A73CF29122A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31539" y="5663325"/>
            <a:ext cx="540000" cy="418523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1E6DAA44-232F-53C1-0537-521982920F43}"/>
              </a:ext>
            </a:extLst>
          </p:cNvPr>
          <p:cNvSpPr txBox="1"/>
          <p:nvPr userDrawn="1"/>
        </p:nvSpPr>
        <p:spPr>
          <a:xfrm>
            <a:off x="5381619" y="5597907"/>
            <a:ext cx="104547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4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قراءة/ كتابة</a:t>
            </a:r>
            <a:endParaRPr kumimoji="0" lang="fr-MA" sz="1600" b="0" i="0" u="none" strike="noStrike" kern="1200" cap="none" spc="0" normalizeH="0" baseline="0" noProof="0" dirty="0">
              <a:ln>
                <a:noFill/>
              </a:ln>
              <a:solidFill>
                <a:srgbClr val="757575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7ED25096-1652-CF94-A635-43A9EF75D40F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1910675" y="3414699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id="{87C29410-194A-A0FC-02AA-D45ED9C6D91B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1910675" y="5936514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1pPr>
            <a:lvl2pPr marL="685800" indent="-2286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6" name="Espace réservé pour une image  26">
            <a:extLst>
              <a:ext uri="{FF2B5EF4-FFF2-40B4-BE49-F238E27FC236}">
                <a16:creationId xmlns:a16="http://schemas.microsoft.com/office/drawing/2014/main" id="{FA15E7D4-4E24-20DC-DC31-FB1FD66404E2}"/>
              </a:ext>
            </a:extLst>
          </p:cNvPr>
          <p:cNvSpPr>
            <a:spLocks noGrp="1" noChangeAspect="1"/>
          </p:cNvSpPr>
          <p:nvPr userDrawn="1">
            <p:ph type="pic" sz="quarter" idx="11"/>
          </p:nvPr>
        </p:nvSpPr>
        <p:spPr>
          <a:xfrm>
            <a:off x="1551387" y="1635472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id="{AB5B6BF7-7F16-3864-93ED-878A7E81FCF6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1469381" y="2861909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26">
            <a:extLst>
              <a:ext uri="{FF2B5EF4-FFF2-40B4-BE49-F238E27FC236}">
                <a16:creationId xmlns:a16="http://schemas.microsoft.com/office/drawing/2014/main" id="{72C83DB3-4158-81C2-DF0C-02358E6383D2}"/>
              </a:ext>
            </a:extLst>
          </p:cNvPr>
          <p:cNvSpPr>
            <a:spLocks noGrp="1" noChangeAspect="1"/>
          </p:cNvSpPr>
          <p:nvPr userDrawn="1">
            <p:ph type="pic" sz="quarter" idx="13"/>
          </p:nvPr>
        </p:nvSpPr>
        <p:spPr>
          <a:xfrm>
            <a:off x="1314000" y="5429325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811FF2A6-3A27-F9EC-B776-3C78801637B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43225" y="4364305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F39AEB2C-5EF8-C0B2-17D9-DC2A1BFF334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1207" y="4421325"/>
            <a:ext cx="536340" cy="540000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29315594-663F-76C6-60A7-A64669BD4407}"/>
              </a:ext>
            </a:extLst>
          </p:cNvPr>
          <p:cNvSpPr txBox="1"/>
          <p:nvPr userDrawn="1"/>
        </p:nvSpPr>
        <p:spPr>
          <a:xfrm>
            <a:off x="5202083" y="4376851"/>
            <a:ext cx="122501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3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ستماع وتحدث</a:t>
            </a:r>
          </a:p>
        </p:txBody>
      </p:sp>
      <p:sp>
        <p:nvSpPr>
          <p:cNvPr id="22" name="Espace réservé du texte 5">
            <a:extLst>
              <a:ext uri="{FF2B5EF4-FFF2-40B4-BE49-F238E27FC236}">
                <a16:creationId xmlns:a16="http://schemas.microsoft.com/office/drawing/2014/main" id="{56077135-79B7-BF8F-DFF0-9627E210A1E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910675" y="4691485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3" name="Espace réservé pour une image  26">
            <a:extLst>
              <a:ext uri="{FF2B5EF4-FFF2-40B4-BE49-F238E27FC236}">
                <a16:creationId xmlns:a16="http://schemas.microsoft.com/office/drawing/2014/main" id="{3FC35363-7250-C7AC-02C8-ECF3703889B7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1469381" y="4138695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37751742"/>
      </p:ext>
    </p:extLst>
  </p:cSld>
  <p:clrMapOvr>
    <a:masterClrMapping/>
  </p:clrMapOvr>
  <p:transition spd="slow"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Disposition personnalisée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 23">
            <a:extLst>
              <a:ext uri="{FF2B5EF4-FFF2-40B4-BE49-F238E27FC236}">
                <a16:creationId xmlns:a16="http://schemas.microsoft.com/office/drawing/2014/main" id="{C1636943-B7ED-9DE9-05E7-0EF7269D816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85387" y="1805842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177D1CC0-8A13-B399-A07F-823E203718E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29063" y="1851798"/>
            <a:ext cx="544953" cy="540000"/>
          </a:xfrm>
          <a:prstGeom prst="rect">
            <a:avLst/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id="{6BDEABDE-DF85-2C7F-016B-8BB6AEE8988A}"/>
              </a:ext>
            </a:extLst>
          </p:cNvPr>
          <p:cNvSpPr txBox="1"/>
          <p:nvPr userDrawn="1"/>
        </p:nvSpPr>
        <p:spPr>
          <a:xfrm>
            <a:off x="4749553" y="1780565"/>
            <a:ext cx="1779510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 - 01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نشاط الاعتيادي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4357CEDB-D7C0-6190-51B4-5912E1EF234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43225" y="5597907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650" y="895981"/>
            <a:ext cx="7886700" cy="705267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rgbClr val="474F71"/>
                </a:solidFill>
                <a:latin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774F252E-D349-CF92-A916-6A80516394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43225" y="3087519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/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1207" y="3144539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7AA3FD7D-A058-EEFF-B5E0-B9773B884245}"/>
              </a:ext>
            </a:extLst>
          </p:cNvPr>
          <p:cNvSpPr txBox="1"/>
          <p:nvPr userDrawn="1"/>
        </p:nvSpPr>
        <p:spPr>
          <a:xfrm>
            <a:off x="5687792" y="3100065"/>
            <a:ext cx="73930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2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عجم</a:t>
            </a:r>
            <a:endParaRPr kumimoji="0" lang="fr-MA" sz="1600" b="0" i="0" u="none" strike="noStrike" kern="1200" cap="none" spc="0" normalizeH="0" baseline="0" noProof="0" dirty="0">
              <a:ln>
                <a:noFill/>
              </a:ln>
              <a:solidFill>
                <a:srgbClr val="757575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9EC8C79E-4B15-7487-6A1B-A73CF29122A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31539" y="5663325"/>
            <a:ext cx="540000" cy="418523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1E6DAA44-232F-53C1-0537-521982920F43}"/>
              </a:ext>
            </a:extLst>
          </p:cNvPr>
          <p:cNvSpPr txBox="1"/>
          <p:nvPr userDrawn="1"/>
        </p:nvSpPr>
        <p:spPr>
          <a:xfrm>
            <a:off x="5381619" y="5597907"/>
            <a:ext cx="104547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4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قراءة/ كتابة</a:t>
            </a:r>
            <a:endParaRPr kumimoji="0" lang="fr-MA" sz="1600" b="0" i="0" u="none" strike="noStrike" kern="1200" cap="none" spc="0" normalizeH="0" baseline="0" noProof="0" dirty="0">
              <a:ln>
                <a:noFill/>
              </a:ln>
              <a:solidFill>
                <a:srgbClr val="757575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7ED25096-1652-CF94-A635-43A9EF75D40F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1907225" y="2119871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id="{87C29410-194A-A0FC-02AA-D45ED9C6D91B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1910675" y="5936514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1pPr>
            <a:lvl2pPr marL="685800" indent="-2286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6" name="Espace réservé pour une image  26">
            <a:extLst>
              <a:ext uri="{FF2B5EF4-FFF2-40B4-BE49-F238E27FC236}">
                <a16:creationId xmlns:a16="http://schemas.microsoft.com/office/drawing/2014/main" id="{FA15E7D4-4E24-20DC-DC31-FB1FD66404E2}"/>
              </a:ext>
            </a:extLst>
          </p:cNvPr>
          <p:cNvSpPr>
            <a:spLocks noGrp="1" noChangeAspect="1"/>
          </p:cNvSpPr>
          <p:nvPr userDrawn="1">
            <p:ph type="pic" sz="quarter" idx="11"/>
          </p:nvPr>
        </p:nvSpPr>
        <p:spPr>
          <a:xfrm>
            <a:off x="1551387" y="1635472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id="{AB5B6BF7-7F16-3864-93ED-878A7E81FCF6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1469381" y="2861909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26">
            <a:extLst>
              <a:ext uri="{FF2B5EF4-FFF2-40B4-BE49-F238E27FC236}">
                <a16:creationId xmlns:a16="http://schemas.microsoft.com/office/drawing/2014/main" id="{72C83DB3-4158-81C2-DF0C-02358E6383D2}"/>
              </a:ext>
            </a:extLst>
          </p:cNvPr>
          <p:cNvSpPr>
            <a:spLocks noGrp="1" noChangeAspect="1"/>
          </p:cNvSpPr>
          <p:nvPr userDrawn="1">
            <p:ph type="pic" sz="quarter" idx="13"/>
          </p:nvPr>
        </p:nvSpPr>
        <p:spPr>
          <a:xfrm>
            <a:off x="1314000" y="5429325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811FF2A6-3A27-F9EC-B776-3C78801637B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43225" y="4364305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F39AEB2C-5EF8-C0B2-17D9-DC2A1BFF334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1207" y="4421325"/>
            <a:ext cx="536340" cy="540000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29315594-663F-76C6-60A7-A64669BD4407}"/>
              </a:ext>
            </a:extLst>
          </p:cNvPr>
          <p:cNvSpPr txBox="1"/>
          <p:nvPr userDrawn="1"/>
        </p:nvSpPr>
        <p:spPr>
          <a:xfrm>
            <a:off x="5202083" y="4376851"/>
            <a:ext cx="122501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3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ستماع وتحدث</a:t>
            </a:r>
          </a:p>
        </p:txBody>
      </p:sp>
      <p:sp>
        <p:nvSpPr>
          <p:cNvPr id="22" name="Espace réservé du texte 5">
            <a:extLst>
              <a:ext uri="{FF2B5EF4-FFF2-40B4-BE49-F238E27FC236}">
                <a16:creationId xmlns:a16="http://schemas.microsoft.com/office/drawing/2014/main" id="{56077135-79B7-BF8F-DFF0-9627E210A1E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910675" y="4691485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3" name="Espace réservé pour une image  26">
            <a:extLst>
              <a:ext uri="{FF2B5EF4-FFF2-40B4-BE49-F238E27FC236}">
                <a16:creationId xmlns:a16="http://schemas.microsoft.com/office/drawing/2014/main" id="{3FC35363-7250-C7AC-02C8-ECF3703889B7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1469381" y="4138695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933541021"/>
      </p:ext>
    </p:extLst>
  </p:cSld>
  <p:clrMapOvr>
    <a:masterClrMapping/>
  </p:clrMapOvr>
  <p:transition spd="slow"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Disposition personnalisée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 23">
            <a:extLst>
              <a:ext uri="{FF2B5EF4-FFF2-40B4-BE49-F238E27FC236}">
                <a16:creationId xmlns:a16="http://schemas.microsoft.com/office/drawing/2014/main" id="{C1636943-B7ED-9DE9-05E7-0EF7269D816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85387" y="1805842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177D1CC0-8A13-B399-A07F-823E203718E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29063" y="1851798"/>
            <a:ext cx="544953" cy="540000"/>
          </a:xfrm>
          <a:prstGeom prst="rect">
            <a:avLst/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id="{6BDEABDE-DF85-2C7F-016B-8BB6AEE8988A}"/>
              </a:ext>
            </a:extLst>
          </p:cNvPr>
          <p:cNvSpPr txBox="1"/>
          <p:nvPr userDrawn="1"/>
        </p:nvSpPr>
        <p:spPr>
          <a:xfrm>
            <a:off x="4749553" y="1780565"/>
            <a:ext cx="1779510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 - 01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نشاط الاعتيادي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4357CEDB-D7C0-6190-51B4-5912E1EF234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43225" y="5597907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650" y="895981"/>
            <a:ext cx="7886700" cy="705267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rgbClr val="474F71"/>
                </a:solidFill>
                <a:latin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774F252E-D349-CF92-A916-6A80516394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43225" y="3087519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1207" y="3144539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7AA3FD7D-A058-EEFF-B5E0-B9773B884245}"/>
              </a:ext>
            </a:extLst>
          </p:cNvPr>
          <p:cNvSpPr txBox="1"/>
          <p:nvPr userDrawn="1"/>
        </p:nvSpPr>
        <p:spPr>
          <a:xfrm>
            <a:off x="5687792" y="3100065"/>
            <a:ext cx="73930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2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عجم</a:t>
            </a:r>
            <a:endParaRPr kumimoji="0" lang="fr-MA" sz="1600" b="0" i="0" u="none" strike="noStrike" kern="1200" cap="none" spc="0" normalizeH="0" baseline="0" noProof="0" dirty="0">
              <a:ln>
                <a:noFill/>
              </a:ln>
              <a:solidFill>
                <a:srgbClr val="757575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9EC8C79E-4B15-7487-6A1B-A73CF29122A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31539" y="5663325"/>
            <a:ext cx="540000" cy="418523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1E6DAA44-232F-53C1-0537-521982920F43}"/>
              </a:ext>
            </a:extLst>
          </p:cNvPr>
          <p:cNvSpPr txBox="1"/>
          <p:nvPr userDrawn="1"/>
        </p:nvSpPr>
        <p:spPr>
          <a:xfrm>
            <a:off x="5381619" y="5597907"/>
            <a:ext cx="104547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4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قراءة/ كتابة</a:t>
            </a:r>
            <a:endParaRPr kumimoji="0" lang="fr-MA" sz="1600" b="0" i="0" u="none" strike="noStrike" kern="1200" cap="none" spc="0" normalizeH="0" baseline="0" noProof="0" dirty="0">
              <a:ln>
                <a:noFill/>
              </a:ln>
              <a:solidFill>
                <a:srgbClr val="757575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7ED25096-1652-CF94-A635-43A9EF75D40F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1907225" y="2119871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id="{87C29410-194A-A0FC-02AA-D45ED9C6D91B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1910675" y="5936514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1pPr>
            <a:lvl2pPr marL="685800" indent="-2286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6" name="Espace réservé pour une image  26">
            <a:extLst>
              <a:ext uri="{FF2B5EF4-FFF2-40B4-BE49-F238E27FC236}">
                <a16:creationId xmlns:a16="http://schemas.microsoft.com/office/drawing/2014/main" id="{FA15E7D4-4E24-20DC-DC31-FB1FD66404E2}"/>
              </a:ext>
            </a:extLst>
          </p:cNvPr>
          <p:cNvSpPr>
            <a:spLocks noGrp="1" noChangeAspect="1"/>
          </p:cNvSpPr>
          <p:nvPr userDrawn="1">
            <p:ph type="pic" sz="quarter" idx="11"/>
          </p:nvPr>
        </p:nvSpPr>
        <p:spPr>
          <a:xfrm>
            <a:off x="1551387" y="1635472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id="{AB5B6BF7-7F16-3864-93ED-878A7E81FCF6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1469381" y="2861909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26">
            <a:extLst>
              <a:ext uri="{FF2B5EF4-FFF2-40B4-BE49-F238E27FC236}">
                <a16:creationId xmlns:a16="http://schemas.microsoft.com/office/drawing/2014/main" id="{72C83DB3-4158-81C2-DF0C-02358E6383D2}"/>
              </a:ext>
            </a:extLst>
          </p:cNvPr>
          <p:cNvSpPr>
            <a:spLocks noGrp="1" noChangeAspect="1"/>
          </p:cNvSpPr>
          <p:nvPr userDrawn="1">
            <p:ph type="pic" sz="quarter" idx="13"/>
          </p:nvPr>
        </p:nvSpPr>
        <p:spPr>
          <a:xfrm>
            <a:off x="1314000" y="5429325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811FF2A6-3A27-F9EC-B776-3C78801637B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43225" y="4364305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F39AEB2C-5EF8-C0B2-17D9-DC2A1BFF334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1207" y="4421325"/>
            <a:ext cx="536340" cy="540000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29315594-663F-76C6-60A7-A64669BD4407}"/>
              </a:ext>
            </a:extLst>
          </p:cNvPr>
          <p:cNvSpPr txBox="1"/>
          <p:nvPr userDrawn="1"/>
        </p:nvSpPr>
        <p:spPr>
          <a:xfrm>
            <a:off x="5202083" y="4376851"/>
            <a:ext cx="122501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3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ستماع وتحدث</a:t>
            </a:r>
          </a:p>
        </p:txBody>
      </p:sp>
      <p:sp>
        <p:nvSpPr>
          <p:cNvPr id="22" name="Espace réservé du texte 5">
            <a:extLst>
              <a:ext uri="{FF2B5EF4-FFF2-40B4-BE49-F238E27FC236}">
                <a16:creationId xmlns:a16="http://schemas.microsoft.com/office/drawing/2014/main" id="{56077135-79B7-BF8F-DFF0-9627E210A1E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907225" y="3404242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3" name="Espace réservé pour une image  26">
            <a:extLst>
              <a:ext uri="{FF2B5EF4-FFF2-40B4-BE49-F238E27FC236}">
                <a16:creationId xmlns:a16="http://schemas.microsoft.com/office/drawing/2014/main" id="{3FC35363-7250-C7AC-02C8-ECF3703889B7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1469381" y="4138695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917586221"/>
      </p:ext>
    </p:extLst>
  </p:cSld>
  <p:clrMapOvr>
    <a:masterClrMapping/>
  </p:clrMapOvr>
  <p:transition spd="slow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21/11/2025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5704001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Disposition personnalisée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 23">
            <a:extLst>
              <a:ext uri="{FF2B5EF4-FFF2-40B4-BE49-F238E27FC236}">
                <a16:creationId xmlns:a16="http://schemas.microsoft.com/office/drawing/2014/main" id="{C1636943-B7ED-9DE9-05E7-0EF7269D816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85387" y="1805842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177D1CC0-8A13-B399-A07F-823E203718E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29063" y="1851798"/>
            <a:ext cx="544953" cy="540000"/>
          </a:xfrm>
          <a:prstGeom prst="rect">
            <a:avLst/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id="{6BDEABDE-DF85-2C7F-016B-8BB6AEE8988A}"/>
              </a:ext>
            </a:extLst>
          </p:cNvPr>
          <p:cNvSpPr txBox="1"/>
          <p:nvPr userDrawn="1"/>
        </p:nvSpPr>
        <p:spPr>
          <a:xfrm>
            <a:off x="4749553" y="1780565"/>
            <a:ext cx="1779510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 - 01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نشاط الاعتيادي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4357CEDB-D7C0-6190-51B4-5912E1EF234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85387" y="5597907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/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650" y="895981"/>
            <a:ext cx="7886700" cy="705267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rgbClr val="474F71"/>
                </a:solidFill>
                <a:latin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774F252E-D349-CF92-A916-6A80516394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85387" y="3087519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1207" y="3144539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7AA3FD7D-A058-EEFF-B5E0-B9773B884245}"/>
              </a:ext>
            </a:extLst>
          </p:cNvPr>
          <p:cNvSpPr txBox="1"/>
          <p:nvPr userDrawn="1"/>
        </p:nvSpPr>
        <p:spPr>
          <a:xfrm>
            <a:off x="5687792" y="3100065"/>
            <a:ext cx="73930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2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عجم</a:t>
            </a:r>
            <a:endParaRPr kumimoji="0" lang="fr-MA" sz="1600" b="0" i="0" u="none" strike="noStrike" kern="1200" cap="none" spc="0" normalizeH="0" baseline="0" noProof="0" dirty="0">
              <a:ln>
                <a:noFill/>
              </a:ln>
              <a:solidFill>
                <a:srgbClr val="757575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9EC8C79E-4B15-7487-6A1B-A73CF29122A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6531539" y="5663325"/>
            <a:ext cx="540000" cy="418523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1E6DAA44-232F-53C1-0537-521982920F43}"/>
              </a:ext>
            </a:extLst>
          </p:cNvPr>
          <p:cNvSpPr txBox="1"/>
          <p:nvPr userDrawn="1"/>
        </p:nvSpPr>
        <p:spPr>
          <a:xfrm>
            <a:off x="5381619" y="5597907"/>
            <a:ext cx="104547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4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قراءة/ كتابة</a:t>
            </a:r>
            <a:endParaRPr kumimoji="0" lang="fr-MA" sz="1600" b="0" i="0" u="none" strike="noStrike" kern="1200" cap="none" spc="0" normalizeH="0" baseline="0" noProof="0" dirty="0">
              <a:ln>
                <a:noFill/>
              </a:ln>
              <a:solidFill>
                <a:srgbClr val="757575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7ED25096-1652-CF94-A635-43A9EF75D40F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1910675" y="2119871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id="{87C29410-194A-A0FC-02AA-D45ED9C6D91B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1910675" y="3405661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1pPr>
            <a:lvl2pPr marL="685800" indent="-2286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6" name="Espace réservé pour une image  26">
            <a:extLst>
              <a:ext uri="{FF2B5EF4-FFF2-40B4-BE49-F238E27FC236}">
                <a16:creationId xmlns:a16="http://schemas.microsoft.com/office/drawing/2014/main" id="{FA15E7D4-4E24-20DC-DC31-FB1FD66404E2}"/>
              </a:ext>
            </a:extLst>
          </p:cNvPr>
          <p:cNvSpPr>
            <a:spLocks noGrp="1" noChangeAspect="1"/>
          </p:cNvSpPr>
          <p:nvPr userDrawn="1">
            <p:ph type="pic" sz="quarter" idx="11"/>
          </p:nvPr>
        </p:nvSpPr>
        <p:spPr>
          <a:xfrm>
            <a:off x="1551387" y="1635472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id="{AB5B6BF7-7F16-3864-93ED-878A7E81FCF6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1551387" y="2861909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26">
            <a:extLst>
              <a:ext uri="{FF2B5EF4-FFF2-40B4-BE49-F238E27FC236}">
                <a16:creationId xmlns:a16="http://schemas.microsoft.com/office/drawing/2014/main" id="{72C83DB3-4158-81C2-DF0C-02358E6383D2}"/>
              </a:ext>
            </a:extLst>
          </p:cNvPr>
          <p:cNvSpPr>
            <a:spLocks noGrp="1" noChangeAspect="1"/>
          </p:cNvSpPr>
          <p:nvPr userDrawn="1">
            <p:ph type="pic" sz="quarter" idx="13"/>
          </p:nvPr>
        </p:nvSpPr>
        <p:spPr>
          <a:xfrm>
            <a:off x="1551387" y="5429325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811FF2A6-3A27-F9EC-B776-3C78801637B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85387" y="4364305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F39AEB2C-5EF8-C0B2-17D9-DC2A1BFF334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1207" y="4421325"/>
            <a:ext cx="536340" cy="540000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29315594-663F-76C6-60A7-A64669BD4407}"/>
              </a:ext>
            </a:extLst>
          </p:cNvPr>
          <p:cNvSpPr txBox="1"/>
          <p:nvPr userDrawn="1"/>
        </p:nvSpPr>
        <p:spPr>
          <a:xfrm>
            <a:off x="5202083" y="4376851"/>
            <a:ext cx="122501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3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ستماع وتحدث</a:t>
            </a:r>
          </a:p>
        </p:txBody>
      </p:sp>
      <p:sp>
        <p:nvSpPr>
          <p:cNvPr id="22" name="Espace réservé du texte 5">
            <a:extLst>
              <a:ext uri="{FF2B5EF4-FFF2-40B4-BE49-F238E27FC236}">
                <a16:creationId xmlns:a16="http://schemas.microsoft.com/office/drawing/2014/main" id="{56077135-79B7-BF8F-DFF0-9627E210A1E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910675" y="4691485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3" name="Espace réservé pour une image  26">
            <a:extLst>
              <a:ext uri="{FF2B5EF4-FFF2-40B4-BE49-F238E27FC236}">
                <a16:creationId xmlns:a16="http://schemas.microsoft.com/office/drawing/2014/main" id="{3FC35363-7250-C7AC-02C8-ECF3703889B7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1551387" y="4138695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811104908"/>
      </p:ext>
    </p:extLst>
  </p:cSld>
  <p:clrMapOvr>
    <a:masterClrMapping/>
  </p:clrMapOvr>
  <p:transition spd="slow"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 23">
            <a:extLst>
              <a:ext uri="{FF2B5EF4-FFF2-40B4-BE49-F238E27FC236}">
                <a16:creationId xmlns:a16="http://schemas.microsoft.com/office/drawing/2014/main" id="{C1636943-B7ED-9DE9-05E7-0EF7269D81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2138891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/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177D1CC0-8A13-B399-A07F-823E203718E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2247028"/>
            <a:ext cx="544953" cy="540000"/>
          </a:xfrm>
          <a:prstGeom prst="rect">
            <a:avLst/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id="{6BDEABDE-DF85-2C7F-016B-8BB6AEE8988A}"/>
              </a:ext>
            </a:extLst>
          </p:cNvPr>
          <p:cNvSpPr txBox="1"/>
          <p:nvPr userDrawn="1"/>
        </p:nvSpPr>
        <p:spPr>
          <a:xfrm>
            <a:off x="2225078" y="2156784"/>
            <a:ext cx="195277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1.  Présentation du Vocabulaire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4357CEDB-D7C0-6190-51B4-5912E1EF23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5126699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rgbClr val="474F71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r>
              <a:rPr lang="ar-MA" dirty="0"/>
              <a:t>هيكلة حصة اليوم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774F252E-D349-CF92-A916-6A80516394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3643281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3672000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7AA3FD7D-A058-EEFF-B5E0-B9773B884245}"/>
              </a:ext>
            </a:extLst>
          </p:cNvPr>
          <p:cNvSpPr txBox="1"/>
          <p:nvPr userDrawn="1"/>
        </p:nvSpPr>
        <p:spPr>
          <a:xfrm>
            <a:off x="2201410" y="3643281"/>
            <a:ext cx="19511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2.  Exploitation du Vocabulair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9EC8C79E-4B15-7487-6A1B-A73CF29122A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0340" y="5158300"/>
            <a:ext cx="540000" cy="418523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1E6DAA44-232F-53C1-0537-521982920F43}"/>
              </a:ext>
            </a:extLst>
          </p:cNvPr>
          <p:cNvSpPr txBox="1"/>
          <p:nvPr userDrawn="1"/>
        </p:nvSpPr>
        <p:spPr>
          <a:xfrm>
            <a:off x="2225078" y="5126699"/>
            <a:ext cx="127951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3.  Travail sur livret</a:t>
            </a: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7ED25096-1652-CF94-A635-43A9EF75D40F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2192797" y="4028135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marL="26670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id="{87C29410-194A-A0FC-02AA-D45ED9C6D91B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2201410" y="5508429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6" name="Espace réservé pour une image  26">
            <a:extLst>
              <a:ext uri="{FF2B5EF4-FFF2-40B4-BE49-F238E27FC236}">
                <a16:creationId xmlns:a16="http://schemas.microsoft.com/office/drawing/2014/main" id="{FA15E7D4-4E24-20DC-DC31-FB1FD66404E2}"/>
              </a:ext>
            </a:extLst>
          </p:cNvPr>
          <p:cNvSpPr>
            <a:spLocks noGrp="1" noChangeAspect="1"/>
          </p:cNvSpPr>
          <p:nvPr userDrawn="1">
            <p:ph type="pic" sz="quarter" idx="11"/>
          </p:nvPr>
        </p:nvSpPr>
        <p:spPr>
          <a:xfrm>
            <a:off x="7298796" y="1938857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id="{AB5B6BF7-7F16-3864-93ED-878A7E81FCF6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7298796" y="3473285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26">
            <a:extLst>
              <a:ext uri="{FF2B5EF4-FFF2-40B4-BE49-F238E27FC236}">
                <a16:creationId xmlns:a16="http://schemas.microsoft.com/office/drawing/2014/main" id="{72C83DB3-4158-81C2-DF0C-02358E6383D2}"/>
              </a:ext>
            </a:extLst>
          </p:cNvPr>
          <p:cNvSpPr>
            <a:spLocks noGrp="1" noChangeAspect="1"/>
          </p:cNvSpPr>
          <p:nvPr userDrawn="1">
            <p:ph type="pic" sz="quarter" idx="13"/>
          </p:nvPr>
        </p:nvSpPr>
        <p:spPr>
          <a:xfrm>
            <a:off x="7298796" y="4958117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573698529"/>
      </p:ext>
    </p:extLst>
  </p:cSld>
  <p:clrMapOvr>
    <a:masterClrMapping/>
  </p:clrMapOvr>
  <p:transition spd="slow"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 23">
            <a:extLst>
              <a:ext uri="{FF2B5EF4-FFF2-40B4-BE49-F238E27FC236}">
                <a16:creationId xmlns:a16="http://schemas.microsoft.com/office/drawing/2014/main" id="{C1636943-B7ED-9DE9-05E7-0EF7269D81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511543" y="2138891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/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177D1CC0-8A13-B399-A07F-823E203718E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23843" y="2190869"/>
            <a:ext cx="544953" cy="540000"/>
          </a:xfrm>
          <a:prstGeom prst="rect">
            <a:avLst/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id="{6BDEABDE-DF85-2C7F-016B-8BB6AEE8988A}"/>
              </a:ext>
            </a:extLst>
          </p:cNvPr>
          <p:cNvSpPr txBox="1"/>
          <p:nvPr userDrawn="1"/>
        </p:nvSpPr>
        <p:spPr>
          <a:xfrm>
            <a:off x="6190420" y="2150869"/>
            <a:ext cx="769762" cy="33855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 - 02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عجم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4357CEDB-D7C0-6190-51B4-5912E1EF23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5126699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rgbClr val="474F71"/>
                </a:solidFill>
                <a:latin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774F252E-D349-CF92-A916-6A80516394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3643281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3672000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7AA3FD7D-A058-EEFF-B5E0-B9773B884245}"/>
              </a:ext>
            </a:extLst>
          </p:cNvPr>
          <p:cNvSpPr txBox="1"/>
          <p:nvPr userDrawn="1"/>
        </p:nvSpPr>
        <p:spPr>
          <a:xfrm>
            <a:off x="2201410" y="3643281"/>
            <a:ext cx="19511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2.  Exploitation du Vocabulair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9EC8C79E-4B15-7487-6A1B-A73CF29122A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0340" y="5158300"/>
            <a:ext cx="540000" cy="418523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1E6DAA44-232F-53C1-0537-521982920F43}"/>
              </a:ext>
            </a:extLst>
          </p:cNvPr>
          <p:cNvSpPr txBox="1"/>
          <p:nvPr userDrawn="1"/>
        </p:nvSpPr>
        <p:spPr>
          <a:xfrm>
            <a:off x="2225078" y="5126699"/>
            <a:ext cx="127951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3.  Travail sur livret</a:t>
            </a: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7ED25096-1652-CF94-A635-43A9EF75D40F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2192797" y="4028135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marL="26670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id="{87C29410-194A-A0FC-02AA-D45ED9C6D91B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2201410" y="5508429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6" name="Espace réservé pour une image  26">
            <a:extLst>
              <a:ext uri="{FF2B5EF4-FFF2-40B4-BE49-F238E27FC236}">
                <a16:creationId xmlns:a16="http://schemas.microsoft.com/office/drawing/2014/main" id="{FA15E7D4-4E24-20DC-DC31-FB1FD66404E2}"/>
              </a:ext>
            </a:extLst>
          </p:cNvPr>
          <p:cNvSpPr>
            <a:spLocks noGrp="1" noChangeAspect="1"/>
          </p:cNvSpPr>
          <p:nvPr userDrawn="1">
            <p:ph type="pic" sz="quarter" idx="11"/>
          </p:nvPr>
        </p:nvSpPr>
        <p:spPr>
          <a:xfrm>
            <a:off x="1314000" y="1950687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id="{AB5B6BF7-7F16-3864-93ED-878A7E81FCF6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7298796" y="3473285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26">
            <a:extLst>
              <a:ext uri="{FF2B5EF4-FFF2-40B4-BE49-F238E27FC236}">
                <a16:creationId xmlns:a16="http://schemas.microsoft.com/office/drawing/2014/main" id="{72C83DB3-4158-81C2-DF0C-02358E6383D2}"/>
              </a:ext>
            </a:extLst>
          </p:cNvPr>
          <p:cNvSpPr>
            <a:spLocks noGrp="1" noChangeAspect="1"/>
          </p:cNvSpPr>
          <p:nvPr userDrawn="1">
            <p:ph type="pic" sz="quarter" idx="13"/>
          </p:nvPr>
        </p:nvSpPr>
        <p:spPr>
          <a:xfrm>
            <a:off x="7298796" y="4958117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533371121"/>
      </p:ext>
    </p:extLst>
  </p:cSld>
  <p:clrMapOvr>
    <a:masterClrMapping/>
  </p:clrMapOvr>
  <p:transition spd="slow"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 23">
            <a:extLst>
              <a:ext uri="{FF2B5EF4-FFF2-40B4-BE49-F238E27FC236}">
                <a16:creationId xmlns:a16="http://schemas.microsoft.com/office/drawing/2014/main" id="{C1636943-B7ED-9DE9-05E7-0EF7269D81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2138891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177D1CC0-8A13-B399-A07F-823E203718E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2247028"/>
            <a:ext cx="544953" cy="540000"/>
          </a:xfrm>
          <a:prstGeom prst="rect">
            <a:avLst/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id="{6BDEABDE-DF85-2C7F-016B-8BB6AEE8988A}"/>
              </a:ext>
            </a:extLst>
          </p:cNvPr>
          <p:cNvSpPr txBox="1"/>
          <p:nvPr userDrawn="1"/>
        </p:nvSpPr>
        <p:spPr>
          <a:xfrm>
            <a:off x="2225078" y="2156784"/>
            <a:ext cx="195277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1.  Présentation du Vocabulaire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4357CEDB-D7C0-6190-51B4-5912E1EF23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5126699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rgbClr val="474F71"/>
                </a:solidFill>
                <a:latin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774F252E-D349-CF92-A916-6A80516394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3643281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/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3672000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7AA3FD7D-A058-EEFF-B5E0-B9773B884245}"/>
              </a:ext>
            </a:extLst>
          </p:cNvPr>
          <p:cNvSpPr txBox="1"/>
          <p:nvPr userDrawn="1"/>
        </p:nvSpPr>
        <p:spPr>
          <a:xfrm>
            <a:off x="2201410" y="3643281"/>
            <a:ext cx="19511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2.  Exploitation du Vocabulair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9EC8C79E-4B15-7487-6A1B-A73CF29122A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0340" y="5158300"/>
            <a:ext cx="540000" cy="418523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1E6DAA44-232F-53C1-0537-521982920F43}"/>
              </a:ext>
            </a:extLst>
          </p:cNvPr>
          <p:cNvSpPr txBox="1"/>
          <p:nvPr userDrawn="1"/>
        </p:nvSpPr>
        <p:spPr>
          <a:xfrm>
            <a:off x="2225078" y="5126699"/>
            <a:ext cx="127951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3.  Travail sur livret</a:t>
            </a: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7ED25096-1652-CF94-A635-43A9EF75D40F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2201410" y="2522109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marL="26670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id="{87C29410-194A-A0FC-02AA-D45ED9C6D91B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2201410" y="5508429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6" name="Espace réservé pour une image  26">
            <a:extLst>
              <a:ext uri="{FF2B5EF4-FFF2-40B4-BE49-F238E27FC236}">
                <a16:creationId xmlns:a16="http://schemas.microsoft.com/office/drawing/2014/main" id="{FA15E7D4-4E24-20DC-DC31-FB1FD66404E2}"/>
              </a:ext>
            </a:extLst>
          </p:cNvPr>
          <p:cNvSpPr>
            <a:spLocks noGrp="1" noChangeAspect="1"/>
          </p:cNvSpPr>
          <p:nvPr userDrawn="1">
            <p:ph type="pic" sz="quarter" idx="11"/>
          </p:nvPr>
        </p:nvSpPr>
        <p:spPr>
          <a:xfrm>
            <a:off x="7298796" y="1938857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id="{AB5B6BF7-7F16-3864-93ED-878A7E81FCF6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7298796" y="3473285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26">
            <a:extLst>
              <a:ext uri="{FF2B5EF4-FFF2-40B4-BE49-F238E27FC236}">
                <a16:creationId xmlns:a16="http://schemas.microsoft.com/office/drawing/2014/main" id="{72C83DB3-4158-81C2-DF0C-02358E6383D2}"/>
              </a:ext>
            </a:extLst>
          </p:cNvPr>
          <p:cNvSpPr>
            <a:spLocks noGrp="1" noChangeAspect="1"/>
          </p:cNvSpPr>
          <p:nvPr userDrawn="1">
            <p:ph type="pic" sz="quarter" idx="13"/>
          </p:nvPr>
        </p:nvSpPr>
        <p:spPr>
          <a:xfrm>
            <a:off x="7298796" y="4958117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045841973"/>
      </p:ext>
    </p:extLst>
  </p:cSld>
  <p:clrMapOvr>
    <a:masterClrMapping/>
  </p:clrMapOvr>
  <p:transition spd="slow"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4357CEDB-D7C0-6190-51B4-5912E1EF23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5126699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/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rgbClr val="474F71"/>
                </a:solidFill>
                <a:latin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774F252E-D349-CF92-A916-6A80516394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3643281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3672000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7AA3FD7D-A058-EEFF-B5E0-B9773B884245}"/>
              </a:ext>
            </a:extLst>
          </p:cNvPr>
          <p:cNvSpPr txBox="1"/>
          <p:nvPr userDrawn="1"/>
        </p:nvSpPr>
        <p:spPr>
          <a:xfrm>
            <a:off x="2201410" y="3643281"/>
            <a:ext cx="19511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2.  Exploitation du Vocabulair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9EC8C79E-4B15-7487-6A1B-A73CF29122A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0340" y="5158300"/>
            <a:ext cx="540000" cy="418523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1E6DAA44-232F-53C1-0537-521982920F43}"/>
              </a:ext>
            </a:extLst>
          </p:cNvPr>
          <p:cNvSpPr txBox="1"/>
          <p:nvPr userDrawn="1"/>
        </p:nvSpPr>
        <p:spPr>
          <a:xfrm>
            <a:off x="2225078" y="5126699"/>
            <a:ext cx="127951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3.  Travail sur livret</a:t>
            </a: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7ED25096-1652-CF94-A635-43A9EF75D40F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2192797" y="4028135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marL="26670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id="{AB5B6BF7-7F16-3864-93ED-878A7E81FCF6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7298796" y="3473285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26">
            <a:extLst>
              <a:ext uri="{FF2B5EF4-FFF2-40B4-BE49-F238E27FC236}">
                <a16:creationId xmlns:a16="http://schemas.microsoft.com/office/drawing/2014/main" id="{72C83DB3-4158-81C2-DF0C-02358E6383D2}"/>
              </a:ext>
            </a:extLst>
          </p:cNvPr>
          <p:cNvSpPr>
            <a:spLocks noGrp="1" noChangeAspect="1"/>
          </p:cNvSpPr>
          <p:nvPr userDrawn="1">
            <p:ph type="pic" sz="quarter" idx="13"/>
          </p:nvPr>
        </p:nvSpPr>
        <p:spPr>
          <a:xfrm>
            <a:off x="7298796" y="4958117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86BAD3D9-AD58-179C-B69E-830F87AB16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2138891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DC07E0A2-EA33-DE3C-110B-9BF33762DD3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2247028"/>
            <a:ext cx="544953" cy="540000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150E2FFA-A2BC-19B6-2E21-52362DDA208C}"/>
              </a:ext>
            </a:extLst>
          </p:cNvPr>
          <p:cNvSpPr txBox="1"/>
          <p:nvPr userDrawn="1"/>
        </p:nvSpPr>
        <p:spPr>
          <a:xfrm>
            <a:off x="2225078" y="2156784"/>
            <a:ext cx="195277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1.  Présentation du Vocabulaire</a:t>
            </a:r>
          </a:p>
        </p:txBody>
      </p:sp>
      <p:sp>
        <p:nvSpPr>
          <p:cNvPr id="12" name="Espace réservé du texte 5">
            <a:extLst>
              <a:ext uri="{FF2B5EF4-FFF2-40B4-BE49-F238E27FC236}">
                <a16:creationId xmlns:a16="http://schemas.microsoft.com/office/drawing/2014/main" id="{01B804A5-6AAB-7FA2-7E6D-C43CE6A9B26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201410" y="2522109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marL="26670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4" name="Espace réservé pour une image  26">
            <a:extLst>
              <a:ext uri="{FF2B5EF4-FFF2-40B4-BE49-F238E27FC236}">
                <a16:creationId xmlns:a16="http://schemas.microsoft.com/office/drawing/2014/main" id="{1B168C30-0497-899C-FCA3-02A763CF9BD9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7298796" y="1938857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682560790"/>
      </p:ext>
    </p:extLst>
  </p:cSld>
  <p:clrMapOvr>
    <a:masterClrMapping/>
  </p:clrMapOvr>
  <p:transition spd="slow"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A8D3F979-AB26-D012-8CCC-CD2D3A494D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66218"/>
            <a:ext cx="7886700" cy="1325563"/>
          </a:xfrm>
          <a:prstGeom prst="rect">
            <a:avLst/>
          </a:prstGeom>
        </p:spPr>
        <p:txBody>
          <a:bodyPr anchor="ctr"/>
          <a:lstStyle>
            <a:lvl1pPr>
              <a:defRPr lang="fr-MA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pPr lvl="0" algn="ctr"/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25938169"/>
      </p:ext>
    </p:extLst>
  </p:cSld>
  <p:clrMapOvr>
    <a:masterClrMapping/>
  </p:clrMapOvr>
  <p:transition spd="slow"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Masco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613" y="756000"/>
            <a:ext cx="6840000" cy="612000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2F159B12-62B7-22A2-9765-7264C5423C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7A344F50-A074-9EB5-2DAC-9BBA2096933C}"/>
              </a:ext>
            </a:extLst>
          </p:cNvPr>
          <p:cNvSpPr>
            <a:spLocks noGrp="1" noChangeAspect="1"/>
          </p:cNvSpPr>
          <p:nvPr>
            <p:ph type="media" sz="quarter" idx="13"/>
          </p:nvPr>
        </p:nvSpPr>
        <p:spPr>
          <a:xfrm>
            <a:off x="3255750" y="1584000"/>
            <a:ext cx="2632500" cy="4680000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042602581"/>
      </p:ext>
    </p:extLst>
  </p:cSld>
  <p:clrMapOvr>
    <a:masterClrMapping/>
  </p:clrMapOvr>
  <p:transition spd="slow"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Large Vidé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E091C94E-1B65-3089-5F06-AAE4424DF093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792000" y="2160000"/>
            <a:ext cx="7560000" cy="3960000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7598C516-D98D-DBF9-3F71-DFEB0161C87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653936920"/>
      </p:ext>
    </p:extLst>
  </p:cSld>
  <p:clrMapOvr>
    <a:masterClrMapping/>
  </p:clrMapOvr>
  <p:transition spd="slow"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Vidé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E091C94E-1B65-3089-5F06-AAE4424DF093}"/>
              </a:ext>
            </a:extLst>
          </p:cNvPr>
          <p:cNvSpPr>
            <a:spLocks noGrp="1" noChangeAspect="1"/>
          </p:cNvSpPr>
          <p:nvPr>
            <p:ph type="media" sz="quarter" idx="10"/>
          </p:nvPr>
        </p:nvSpPr>
        <p:spPr>
          <a:xfrm>
            <a:off x="1692000" y="2026860"/>
            <a:ext cx="5760000" cy="3017150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du texte 4">
            <a:extLst>
              <a:ext uri="{FF2B5EF4-FFF2-40B4-BE49-F238E27FC236}">
                <a16:creationId xmlns:a16="http://schemas.microsoft.com/office/drawing/2014/main" id="{9926949A-F877-393A-0235-737EC4E29E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91999" y="5400000"/>
            <a:ext cx="5760000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2800" b="1" kern="1200" cap="none" spc="0" dirty="0">
                <a:ln w="0"/>
                <a:solidFill>
                  <a:srgbClr val="474F71"/>
                </a:solidFill>
                <a:effectLst/>
                <a:latin typeface="Dosis" pitchFamily="2" charset="0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8" name="Espace réservé pour une image  16">
            <a:extLst>
              <a:ext uri="{FF2B5EF4-FFF2-40B4-BE49-F238E27FC236}">
                <a16:creationId xmlns:a16="http://schemas.microsoft.com/office/drawing/2014/main" id="{EEF34296-E850-0AEB-BB92-43EC46A1102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549510387"/>
      </p:ext>
    </p:extLst>
  </p:cSld>
  <p:clrMapOvr>
    <a:masterClrMapping/>
  </p:clrMapOvr>
  <p:transition spd="slow"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2">
            <a:extLst>
              <a:ext uri="{FF2B5EF4-FFF2-40B4-BE49-F238E27FC236}">
                <a16:creationId xmlns:a16="http://schemas.microsoft.com/office/drawing/2014/main" id="{C8528F83-9A65-C0AF-DA97-1526D668AC8E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1395438" y="2344003"/>
            <a:ext cx="2880000" cy="288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du texte 4">
            <a:extLst>
              <a:ext uri="{FF2B5EF4-FFF2-40B4-BE49-F238E27FC236}">
                <a16:creationId xmlns:a16="http://schemas.microsoft.com/office/drawing/2014/main" id="{993D7940-6B7C-F4DD-FCA1-A62E6F04A7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31055" y="3240000"/>
            <a:ext cx="3613875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5400" b="1" kern="1200" cap="none" spc="0" dirty="0">
                <a:ln w="0"/>
                <a:solidFill>
                  <a:srgbClr val="474F71"/>
                </a:solidFill>
                <a:effectLst/>
                <a:latin typeface="Dosis" pitchFamily="2" charset="0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9D132558-3F75-CB4C-D531-27315320B88F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992999876"/>
      </p:ext>
    </p:extLst>
  </p:cSld>
  <p:clrMapOvr>
    <a:masterClrMapping/>
  </p:clrMapOvr>
  <p:transition spd="slow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21/11/2025</a:t>
            </a:fld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8323642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  <a:lvl2pPr algn="r" rtl="1">
              <a:defRPr>
                <a:latin typeface="Microsoft Uighur" panose="02000000000000000000" pitchFamily="2" charset="-78"/>
              </a:defRPr>
            </a:lvl2pPr>
            <a:lvl3pPr algn="r" rtl="1">
              <a:defRPr>
                <a:latin typeface="Microsoft Uighur" panose="02000000000000000000" pitchFamily="2" charset="-78"/>
              </a:defRPr>
            </a:lvl3pPr>
            <a:lvl4pPr algn="r" rtl="1">
              <a:defRPr>
                <a:latin typeface="Microsoft Uighur" panose="02000000000000000000" pitchFamily="2" charset="-78"/>
              </a:defRPr>
            </a:lvl4pPr>
            <a:lvl5pPr algn="r" rtl="1">
              <a:defRPr>
                <a:latin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12" name="Espace réservé de l'élément multimédia 11">
            <a:extLst>
              <a:ext uri="{FF2B5EF4-FFF2-40B4-BE49-F238E27FC236}">
                <a16:creationId xmlns:a16="http://schemas.microsoft.com/office/drawing/2014/main" id="{F829FF4F-B5FF-57C3-494A-3084F0422CA9}"/>
              </a:ext>
            </a:extLst>
          </p:cNvPr>
          <p:cNvSpPr>
            <a:spLocks noGrp="1"/>
          </p:cNvSpPr>
          <p:nvPr>
            <p:ph type="media" sz="quarter" idx="14"/>
          </p:nvPr>
        </p:nvSpPr>
        <p:spPr>
          <a:xfrm>
            <a:off x="360000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E1E0570-45E7-D32C-C3AF-C520C3495AA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151739665"/>
      </p:ext>
    </p:extLst>
  </p:cSld>
  <p:clrMapOvr>
    <a:masterClrMapping/>
  </p:clrMapOvr>
  <p:transition spd="slow"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  <a:lvl2pPr algn="r" rtl="1">
              <a:defRPr>
                <a:latin typeface="Microsoft Uighur" panose="02000000000000000000" pitchFamily="2" charset="-78"/>
              </a:defRPr>
            </a:lvl2pPr>
            <a:lvl3pPr algn="r" rtl="1">
              <a:defRPr>
                <a:latin typeface="Microsoft Uighur" panose="02000000000000000000" pitchFamily="2" charset="-78"/>
              </a:defRPr>
            </a:lvl3pPr>
            <a:lvl4pPr algn="r" rtl="1">
              <a:defRPr>
                <a:latin typeface="Microsoft Uighur" panose="02000000000000000000" pitchFamily="2" charset="-78"/>
              </a:defRPr>
            </a:lvl4pPr>
            <a:lvl5pPr algn="r" rtl="1">
              <a:defRPr>
                <a:latin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5" name="Espace réservé pour une image  4">
            <a:extLst>
              <a:ext uri="{FF2B5EF4-FFF2-40B4-BE49-F238E27FC236}">
                <a16:creationId xmlns:a16="http://schemas.microsoft.com/office/drawing/2014/main" id="{5D718CC0-0BDB-9947-CCFF-FF1A546B985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60045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85D16DE4-155A-6638-E7CE-E7A28AA4B608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681112276"/>
      </p:ext>
    </p:extLst>
  </p:cSld>
  <p:clrMapOvr>
    <a:masterClrMapping/>
  </p:clrMapOvr>
  <p:transition spd="slow"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3" name="Espace réservé pour une image  6">
            <a:extLst>
              <a:ext uri="{FF2B5EF4-FFF2-40B4-BE49-F238E27FC236}">
                <a16:creationId xmlns:a16="http://schemas.microsoft.com/office/drawing/2014/main" id="{6DBEF773-D41A-C770-09A2-4E95231BCEF2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4016173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6" name="Espace réservé pour une image  6">
            <a:extLst>
              <a:ext uri="{FF2B5EF4-FFF2-40B4-BE49-F238E27FC236}">
                <a16:creationId xmlns:a16="http://schemas.microsoft.com/office/drawing/2014/main" id="{7E603A45-15AE-F689-5C77-2638CD14111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016173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7" name="Espace réservé pour une image  6">
            <a:extLst>
              <a:ext uri="{FF2B5EF4-FFF2-40B4-BE49-F238E27FC236}">
                <a16:creationId xmlns:a16="http://schemas.microsoft.com/office/drawing/2014/main" id="{7A287785-23C6-809D-E732-3B10E73FF581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4016173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8" name="Espace réservé pour une image  6">
            <a:extLst>
              <a:ext uri="{FF2B5EF4-FFF2-40B4-BE49-F238E27FC236}">
                <a16:creationId xmlns:a16="http://schemas.microsoft.com/office/drawing/2014/main" id="{CAB978FA-F72D-651F-22D4-C77E74E59D59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5512359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9" name="Espace réservé pour une image  6">
            <a:extLst>
              <a:ext uri="{FF2B5EF4-FFF2-40B4-BE49-F238E27FC236}">
                <a16:creationId xmlns:a16="http://schemas.microsoft.com/office/drawing/2014/main" id="{A2C53014-67DF-ECB7-1756-F9962A42486C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5512359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0" name="Espace réservé pour une image  6">
            <a:extLst>
              <a:ext uri="{FF2B5EF4-FFF2-40B4-BE49-F238E27FC236}">
                <a16:creationId xmlns:a16="http://schemas.microsoft.com/office/drawing/2014/main" id="{831DC1D3-24B1-B160-E0F9-C7E35DA4E887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5512359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1" name="Espace réservé pour une image  6">
            <a:extLst>
              <a:ext uri="{FF2B5EF4-FFF2-40B4-BE49-F238E27FC236}">
                <a16:creationId xmlns:a16="http://schemas.microsoft.com/office/drawing/2014/main" id="{76695F17-301A-B0CF-5141-CF072746FE4A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008545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2" name="Espace réservé pour une image  6">
            <a:extLst>
              <a:ext uri="{FF2B5EF4-FFF2-40B4-BE49-F238E27FC236}">
                <a16:creationId xmlns:a16="http://schemas.microsoft.com/office/drawing/2014/main" id="{142B664B-C11B-6AA7-4A9C-0531048F6C3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008545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6">
            <a:extLst>
              <a:ext uri="{FF2B5EF4-FFF2-40B4-BE49-F238E27FC236}">
                <a16:creationId xmlns:a16="http://schemas.microsoft.com/office/drawing/2014/main" id="{6CB2D926-9334-B815-CB14-067B65BB32B5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7008545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de l'élément multimédia 4">
            <a:extLst>
              <a:ext uri="{FF2B5EF4-FFF2-40B4-BE49-F238E27FC236}">
                <a16:creationId xmlns:a16="http://schemas.microsoft.com/office/drawing/2014/main" id="{AC4130FF-D25A-0542-47B5-C8C15CA14464}"/>
              </a:ext>
            </a:extLst>
          </p:cNvPr>
          <p:cNvSpPr>
            <a:spLocks noGrp="1" noChangeAspect="1"/>
          </p:cNvSpPr>
          <p:nvPr>
            <p:ph type="media" sz="quarter" idx="29"/>
          </p:nvPr>
        </p:nvSpPr>
        <p:spPr>
          <a:xfrm>
            <a:off x="1224000" y="1806417"/>
            <a:ext cx="2628000" cy="468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1324D1A-D9D9-B5ED-B73D-27AA0C2A9866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133799315"/>
      </p:ext>
    </p:extLst>
  </p:cSld>
  <p:clrMapOvr>
    <a:masterClrMapping/>
  </p:clrMapOvr>
  <p:transition spd="slow"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3B76699B-E059-47DC-DE0E-BA72358357D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792774107"/>
      </p:ext>
    </p:extLst>
  </p:cSld>
  <p:clrMapOvr>
    <a:masterClrMapping/>
  </p:clrMapOvr>
  <p:transition spd="slow"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r"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44355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32697" y="4573417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210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809383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87FAFC7B-FA92-DE4F-26F0-9F5500C95015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982465372"/>
      </p:ext>
    </p:extLst>
  </p:cSld>
  <p:clrMapOvr>
    <a:masterClrMapping/>
  </p:clrMapOvr>
  <p:transition spd="slow"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479323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3759312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039301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79323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75931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39301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803C138-D469-2A4F-DFF7-7BDE3B1200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624360072"/>
      </p:ext>
    </p:extLst>
  </p:cSld>
  <p:clrMapOvr>
    <a:masterClrMapping/>
  </p:clrMapOvr>
  <p:transition spd="slow"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479323" y="4161429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3759312" y="4161429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039301" y="4161429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803C138-D469-2A4F-DFF7-7BDE3B1200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pour une image  14">
            <a:extLst>
              <a:ext uri="{FF2B5EF4-FFF2-40B4-BE49-F238E27FC236}">
                <a16:creationId xmlns:a16="http://schemas.microsoft.com/office/drawing/2014/main" id="{ED574AA3-B351-6E81-47C1-AE4FFFE36E29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1479323" y="209293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C16BD22B-8A37-1A44-3B56-1FFE388CB895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3759312" y="209293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0" name="Espace réservé pour une image  14">
            <a:extLst>
              <a:ext uri="{FF2B5EF4-FFF2-40B4-BE49-F238E27FC236}">
                <a16:creationId xmlns:a16="http://schemas.microsoft.com/office/drawing/2014/main" id="{F6356B9C-DDC6-0D39-05E4-6D75382B79D2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6039301" y="209293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709414243"/>
      </p:ext>
    </p:extLst>
  </p:cSld>
  <p:clrMapOvr>
    <a:masterClrMapping/>
  </p:clrMapOvr>
  <p:transition spd="slow"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17628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7279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56931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26582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7628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7279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6931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6582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0D6A5E2-01C6-D590-C3C3-E3E3120C435F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367565055"/>
      </p:ext>
    </p:extLst>
  </p:cSld>
  <p:clrMapOvr>
    <a:masterClrMapping/>
  </p:clrMapOvr>
  <p:transition spd="slow"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35837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05489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75140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4792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837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05489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75140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4792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10ABAA10-5FC2-5899-38A7-DD016CAF6D6F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144439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du texte 14">
            <a:extLst>
              <a:ext uri="{FF2B5EF4-FFF2-40B4-BE49-F238E27FC236}">
                <a16:creationId xmlns:a16="http://schemas.microsoft.com/office/drawing/2014/main" id="{6D6969BD-245C-42EC-7085-CCC9CAE7B5D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144439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1" name="Espace réservé pour une image  16">
            <a:extLst>
              <a:ext uri="{FF2B5EF4-FFF2-40B4-BE49-F238E27FC236}">
                <a16:creationId xmlns:a16="http://schemas.microsoft.com/office/drawing/2014/main" id="{22CA7E9F-9679-5248-AEE2-BF953C8E64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930449877"/>
      </p:ext>
    </p:extLst>
  </p:cSld>
  <p:clrMapOvr>
    <a:masterClrMapping/>
  </p:clrMapOvr>
  <p:transition spd="slow"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0" name="Espace réservé pour une image  14">
            <a:extLst>
              <a:ext uri="{FF2B5EF4-FFF2-40B4-BE49-F238E27FC236}">
                <a16:creationId xmlns:a16="http://schemas.microsoft.com/office/drawing/2014/main" id="{F72B9DAC-5B26-3AA7-F1E9-7199F361C36B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1" name="Espace réservé pour une image  14">
            <a:extLst>
              <a:ext uri="{FF2B5EF4-FFF2-40B4-BE49-F238E27FC236}">
                <a16:creationId xmlns:a16="http://schemas.microsoft.com/office/drawing/2014/main" id="{6CAD6A59-FF09-83BD-CF55-048C618D77D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2" name="Espace réservé pour une image  14">
            <a:extLst>
              <a:ext uri="{FF2B5EF4-FFF2-40B4-BE49-F238E27FC236}">
                <a16:creationId xmlns:a16="http://schemas.microsoft.com/office/drawing/2014/main" id="{2270B6D3-B398-4D84-E776-FBEF7EA75FB9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3" name="Espace réservé pour une image  14">
            <a:extLst>
              <a:ext uri="{FF2B5EF4-FFF2-40B4-BE49-F238E27FC236}">
                <a16:creationId xmlns:a16="http://schemas.microsoft.com/office/drawing/2014/main" id="{5DBFF0BF-C86C-814E-B36F-BBBAA0F52754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4" name="Espace réservé pour une image  14">
            <a:extLst>
              <a:ext uri="{FF2B5EF4-FFF2-40B4-BE49-F238E27FC236}">
                <a16:creationId xmlns:a16="http://schemas.microsoft.com/office/drawing/2014/main" id="{E726AE8C-307B-2987-95A8-6F7E9A0252DE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12620F5-42B6-A595-4B8A-576787B826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239609776"/>
      </p:ext>
    </p:extLst>
  </p:cSld>
  <p:clrMapOvr>
    <a:masterClrMapping/>
  </p:clrMapOvr>
  <p:transition spd="slow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21/11/2025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6544326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90870748-DEBB-7999-E4EA-5505C8D576AB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03819482"/>
      </p:ext>
    </p:extLst>
  </p:cSld>
  <p:clrMapOvr>
    <a:masterClrMapping/>
  </p:clrMapOvr>
  <p:transition spd="slow"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3A90A1F0-EDD6-9649-9002-A9FD386E735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814294695"/>
      </p:ext>
    </p:extLst>
  </p:cSld>
  <p:clrMapOvr>
    <a:masterClrMapping/>
  </p:clrMapOvr>
  <p:transition spd="slow"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1AD089D0-4BDB-8D43-FA23-9FA976E0B15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95379367"/>
      </p:ext>
    </p:extLst>
  </p:cSld>
  <p:clrMapOvr>
    <a:masterClrMapping/>
  </p:clrMapOvr>
  <p:transition spd="slow"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6" name="Espace réservé du texte 14">
            <a:extLst>
              <a:ext uri="{FF2B5EF4-FFF2-40B4-BE49-F238E27FC236}">
                <a16:creationId xmlns:a16="http://schemas.microsoft.com/office/drawing/2014/main" id="{24C4BDD6-3530-4D8F-6435-7481BF63741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83970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7" name="Espace réservé du texte 14">
            <a:extLst>
              <a:ext uri="{FF2B5EF4-FFF2-40B4-BE49-F238E27FC236}">
                <a16:creationId xmlns:a16="http://schemas.microsoft.com/office/drawing/2014/main" id="{28318D23-D16D-A34E-43C5-131B2D3880D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772312" y="3662239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8" name="Espace réservé du texte 14">
            <a:extLst>
              <a:ext uri="{FF2B5EF4-FFF2-40B4-BE49-F238E27FC236}">
                <a16:creationId xmlns:a16="http://schemas.microsoft.com/office/drawing/2014/main" id="{47B1FA81-6AC5-8E1B-72FC-38B38A0A958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760654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9" name="Espace réservé du texte 14">
            <a:extLst>
              <a:ext uri="{FF2B5EF4-FFF2-40B4-BE49-F238E27FC236}">
                <a16:creationId xmlns:a16="http://schemas.microsoft.com/office/drawing/2014/main" id="{CCC34425-40DA-F506-8846-6105F3AC1D2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748998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2BA00AE2-C86C-3D6D-92AA-E480DC9D0FE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85536308"/>
      </p:ext>
    </p:extLst>
  </p:cSld>
  <p:clrMapOvr>
    <a:masterClrMapping/>
  </p:clrMapOvr>
  <p:transition spd="slow"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1" name="Espace réservé de l'élément multimédia 10">
            <a:extLst>
              <a:ext uri="{FF2B5EF4-FFF2-40B4-BE49-F238E27FC236}">
                <a16:creationId xmlns:a16="http://schemas.microsoft.com/office/drawing/2014/main" id="{4345ECB7-0BD1-2615-17F4-F7F83AB072E4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0C12247A-5948-0FCF-AEE1-F51137CFB627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034371231"/>
      </p:ext>
    </p:extLst>
  </p:cSld>
  <p:clrMapOvr>
    <a:masterClrMapping/>
  </p:clrMapOvr>
  <p:transition spd="slow"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7BFA75F2-F59E-52B7-C96F-CB0C3E62B4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9803E514-510A-9012-E9F3-2DEA0C1AD84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303657648"/>
      </p:ext>
    </p:extLst>
  </p:cSld>
  <p:clrMapOvr>
    <a:masterClrMapping/>
  </p:clrMapOvr>
  <p:transition spd="slow"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Lib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>
            <a:lvl1pPr rtl="1">
              <a:defRPr lang="fr-MA" dirty="0"/>
            </a:lvl1pPr>
          </a:lstStyle>
          <a:p>
            <a:pPr lvl="0"/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1BB9A80-61E4-8F44-A39C-C9F0A149E4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729967491"/>
      </p:ext>
    </p:extLst>
  </p:cSld>
  <p:clrMapOvr>
    <a:masterClrMapping/>
  </p:clrMapOvr>
  <p:transition spd="slow"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 21">
            <a:extLst>
              <a:ext uri="{FF2B5EF4-FFF2-40B4-BE49-F238E27FC236}">
                <a16:creationId xmlns:a16="http://schemas.microsoft.com/office/drawing/2014/main" id="{630A277E-2BC7-C3E2-8989-08599FC0B94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87156" y="2240177"/>
            <a:ext cx="6169687" cy="1188823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3DC4AF98-2B3D-2D34-232F-CF1DDA6BA3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87156" y="3667318"/>
            <a:ext cx="6169687" cy="1207113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89AB1D0D-E890-7F0B-DAD8-7146D4ACACF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487156" y="5113317"/>
            <a:ext cx="6169687" cy="1201016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 rtl="1">
              <a:defRPr b="1"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25" name="Espace réservé du texte 13">
            <a:extLst>
              <a:ext uri="{FF2B5EF4-FFF2-40B4-BE49-F238E27FC236}">
                <a16:creationId xmlns:a16="http://schemas.microsoft.com/office/drawing/2014/main" id="{7D357DBE-F01D-F7D3-FEAE-6DB1B07395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68436" y="2621910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7" name="Espace réservé pour une image  26">
            <a:extLst>
              <a:ext uri="{FF2B5EF4-FFF2-40B4-BE49-F238E27FC236}">
                <a16:creationId xmlns:a16="http://schemas.microsoft.com/office/drawing/2014/main" id="{9C822516-F43E-BECF-7CFF-8A084DC2ACCA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7056000" y="2747910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8" name="Espace réservé du texte 13">
            <a:extLst>
              <a:ext uri="{FF2B5EF4-FFF2-40B4-BE49-F238E27FC236}">
                <a16:creationId xmlns:a16="http://schemas.microsoft.com/office/drawing/2014/main" id="{184F1AD3-1CDF-AC37-6E9B-7B8B5731D67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71774" y="4061170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9" name="Espace réservé pour une image  26">
            <a:extLst>
              <a:ext uri="{FF2B5EF4-FFF2-40B4-BE49-F238E27FC236}">
                <a16:creationId xmlns:a16="http://schemas.microsoft.com/office/drawing/2014/main" id="{C64E9BAC-B4A7-262E-6139-2754B01E6D77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056000" y="4183874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0" name="Espace réservé du texte 13">
            <a:extLst>
              <a:ext uri="{FF2B5EF4-FFF2-40B4-BE49-F238E27FC236}">
                <a16:creationId xmlns:a16="http://schemas.microsoft.com/office/drawing/2014/main" id="{3B1AE6D8-B704-87BC-C392-1092C3DAC2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68436" y="5516007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31" name="Espace réservé pour une image  26">
            <a:extLst>
              <a:ext uri="{FF2B5EF4-FFF2-40B4-BE49-F238E27FC236}">
                <a16:creationId xmlns:a16="http://schemas.microsoft.com/office/drawing/2014/main" id="{B26BF465-B4F4-3D7D-ACF6-20566B03F777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7056000" y="5642007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" name="Espace réservé pour une image  16">
            <a:extLst>
              <a:ext uri="{FF2B5EF4-FFF2-40B4-BE49-F238E27FC236}">
                <a16:creationId xmlns:a16="http://schemas.microsoft.com/office/drawing/2014/main" id="{9AA1E9B8-8D7E-91AE-321E-A93EF886D1A9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185933504"/>
      </p:ext>
    </p:extLst>
  </p:cSld>
  <p:clrMapOvr>
    <a:masterClrMapping/>
  </p:clrMapOvr>
  <p:transition spd="slow"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Disposition personnalisée">
    <p:bg>
      <p:bgPr>
        <a:blipFill dpi="0" rotWithShape="1">
          <a:blip r:embed="rId2">
            <a:lum/>
          </a:blip>
          <a:srcRect/>
          <a:stretch>
            <a:fillRect l="-1000" t="-1000" r="-1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id="{E9371ADD-26AE-A577-29B9-449852C9B6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196" y="895086"/>
            <a:ext cx="7886700" cy="720000"/>
          </a:xfrm>
          <a:prstGeom prst="rect">
            <a:avLst/>
          </a:prstGeom>
        </p:spPr>
        <p:txBody>
          <a:bodyPr anchor="ctr"/>
          <a:lstStyle>
            <a:lvl1pPr algn="ctr" rtl="1">
              <a:defRPr lang="fr-MA" sz="3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pPr lvl="0" algn="ctr"/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494770224"/>
      </p:ext>
    </p:extLst>
  </p:cSld>
  <p:clrMapOvr>
    <a:masterClrMapping/>
  </p:clrMapOvr>
  <p:transition spd="slow"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A8D3F979-AB26-D012-8CCC-CD2D3A494D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66218"/>
            <a:ext cx="7886700" cy="1325563"/>
          </a:xfrm>
          <a:prstGeom prst="rect">
            <a:avLst/>
          </a:prstGeom>
        </p:spPr>
        <p:txBody>
          <a:bodyPr anchor="ctr"/>
          <a:lstStyle>
            <a:lvl1pPr algn="r" rtl="1">
              <a:defRPr lang="fr-MA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pPr lvl="0" algn="ctr"/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667072785"/>
      </p:ext>
    </p:extLst>
  </p:cSld>
  <p:clrMapOvr>
    <a:masterClrMapping/>
  </p:clrMapOvr>
  <p:transition spd="slow"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7.xml"/><Relationship Id="rId13" Type="http://schemas.openxmlformats.org/officeDocument/2006/relationships/slideLayout" Target="../slideLayouts/slideLayout202.xml"/><Relationship Id="rId18" Type="http://schemas.openxmlformats.org/officeDocument/2006/relationships/theme" Target="../theme/theme10.xml"/><Relationship Id="rId3" Type="http://schemas.openxmlformats.org/officeDocument/2006/relationships/slideLayout" Target="../slideLayouts/slideLayout192.xml"/><Relationship Id="rId7" Type="http://schemas.openxmlformats.org/officeDocument/2006/relationships/slideLayout" Target="../slideLayouts/slideLayout196.xml"/><Relationship Id="rId12" Type="http://schemas.openxmlformats.org/officeDocument/2006/relationships/slideLayout" Target="../slideLayouts/slideLayout201.xml"/><Relationship Id="rId17" Type="http://schemas.openxmlformats.org/officeDocument/2006/relationships/slideLayout" Target="../slideLayouts/slideLayout206.xml"/><Relationship Id="rId2" Type="http://schemas.openxmlformats.org/officeDocument/2006/relationships/slideLayout" Target="../slideLayouts/slideLayout191.xml"/><Relationship Id="rId16" Type="http://schemas.openxmlformats.org/officeDocument/2006/relationships/slideLayout" Target="../slideLayouts/slideLayout205.xml"/><Relationship Id="rId1" Type="http://schemas.openxmlformats.org/officeDocument/2006/relationships/slideLayout" Target="../slideLayouts/slideLayout190.xml"/><Relationship Id="rId6" Type="http://schemas.openxmlformats.org/officeDocument/2006/relationships/slideLayout" Target="../slideLayouts/slideLayout195.xml"/><Relationship Id="rId11" Type="http://schemas.openxmlformats.org/officeDocument/2006/relationships/slideLayout" Target="../slideLayouts/slideLayout200.xml"/><Relationship Id="rId5" Type="http://schemas.openxmlformats.org/officeDocument/2006/relationships/slideLayout" Target="../slideLayouts/slideLayout194.xml"/><Relationship Id="rId15" Type="http://schemas.openxmlformats.org/officeDocument/2006/relationships/slideLayout" Target="../slideLayouts/slideLayout204.xml"/><Relationship Id="rId10" Type="http://schemas.openxmlformats.org/officeDocument/2006/relationships/slideLayout" Target="../slideLayouts/slideLayout199.xml"/><Relationship Id="rId19" Type="http://schemas.openxmlformats.org/officeDocument/2006/relationships/image" Target="../media/image4.bin"/><Relationship Id="rId4" Type="http://schemas.openxmlformats.org/officeDocument/2006/relationships/slideLayout" Target="../slideLayouts/slideLayout193.xml"/><Relationship Id="rId9" Type="http://schemas.openxmlformats.org/officeDocument/2006/relationships/slideLayout" Target="../slideLayouts/slideLayout198.xml"/><Relationship Id="rId14" Type="http://schemas.openxmlformats.org/officeDocument/2006/relationships/slideLayout" Target="../slideLayouts/slideLayout20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.xml"/><Relationship Id="rId18" Type="http://schemas.openxmlformats.org/officeDocument/2006/relationships/slideLayout" Target="../slideLayouts/slideLayout19.xml"/><Relationship Id="rId26" Type="http://schemas.openxmlformats.org/officeDocument/2006/relationships/slideLayout" Target="../slideLayouts/slideLayout27.xml"/><Relationship Id="rId39" Type="http://schemas.openxmlformats.org/officeDocument/2006/relationships/theme" Target="../theme/theme2.xml"/><Relationship Id="rId21" Type="http://schemas.openxmlformats.org/officeDocument/2006/relationships/slideLayout" Target="../slideLayouts/slideLayout22.xml"/><Relationship Id="rId34" Type="http://schemas.openxmlformats.org/officeDocument/2006/relationships/slideLayout" Target="../slideLayouts/slideLayout35.xml"/><Relationship Id="rId7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3.xml"/><Relationship Id="rId17" Type="http://schemas.openxmlformats.org/officeDocument/2006/relationships/slideLayout" Target="../slideLayouts/slideLayout18.xml"/><Relationship Id="rId25" Type="http://schemas.openxmlformats.org/officeDocument/2006/relationships/slideLayout" Target="../slideLayouts/slideLayout26.xml"/><Relationship Id="rId33" Type="http://schemas.openxmlformats.org/officeDocument/2006/relationships/slideLayout" Target="../slideLayouts/slideLayout34.xml"/><Relationship Id="rId38" Type="http://schemas.openxmlformats.org/officeDocument/2006/relationships/slideLayout" Target="../slideLayouts/slideLayout39.xml"/><Relationship Id="rId2" Type="http://schemas.openxmlformats.org/officeDocument/2006/relationships/slideLayout" Target="../slideLayouts/slideLayout3.xml"/><Relationship Id="rId16" Type="http://schemas.openxmlformats.org/officeDocument/2006/relationships/slideLayout" Target="../slideLayouts/slideLayout17.xml"/><Relationship Id="rId20" Type="http://schemas.openxmlformats.org/officeDocument/2006/relationships/slideLayout" Target="../slideLayouts/slideLayout21.xml"/><Relationship Id="rId29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24" Type="http://schemas.openxmlformats.org/officeDocument/2006/relationships/slideLayout" Target="../slideLayouts/slideLayout25.xml"/><Relationship Id="rId32" Type="http://schemas.openxmlformats.org/officeDocument/2006/relationships/slideLayout" Target="../slideLayouts/slideLayout33.xml"/><Relationship Id="rId37" Type="http://schemas.openxmlformats.org/officeDocument/2006/relationships/slideLayout" Target="../slideLayouts/slideLayout38.xml"/><Relationship Id="rId5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6.xml"/><Relationship Id="rId23" Type="http://schemas.openxmlformats.org/officeDocument/2006/relationships/slideLayout" Target="../slideLayouts/slideLayout24.xml"/><Relationship Id="rId28" Type="http://schemas.openxmlformats.org/officeDocument/2006/relationships/slideLayout" Target="../slideLayouts/slideLayout29.xml"/><Relationship Id="rId36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11.xml"/><Relationship Id="rId19" Type="http://schemas.openxmlformats.org/officeDocument/2006/relationships/slideLayout" Target="../slideLayouts/slideLayout20.xml"/><Relationship Id="rId31" Type="http://schemas.openxmlformats.org/officeDocument/2006/relationships/slideLayout" Target="../slideLayouts/slideLayout32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slideLayout" Target="../slideLayouts/slideLayout15.xml"/><Relationship Id="rId22" Type="http://schemas.openxmlformats.org/officeDocument/2006/relationships/slideLayout" Target="../slideLayouts/slideLayout23.xml"/><Relationship Id="rId27" Type="http://schemas.openxmlformats.org/officeDocument/2006/relationships/slideLayout" Target="../slideLayouts/slideLayout28.xml"/><Relationship Id="rId30" Type="http://schemas.openxmlformats.org/officeDocument/2006/relationships/slideLayout" Target="../slideLayouts/slideLayout31.xml"/><Relationship Id="rId35" Type="http://schemas.openxmlformats.org/officeDocument/2006/relationships/slideLayout" Target="../slideLayouts/slideLayout36.xml"/><Relationship Id="rId8" Type="http://schemas.openxmlformats.org/officeDocument/2006/relationships/slideLayout" Target="../slideLayouts/slideLayout9.xml"/><Relationship Id="rId3" Type="http://schemas.openxmlformats.org/officeDocument/2006/relationships/slideLayout" Target="../slideLayouts/slideLayout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7.xml"/><Relationship Id="rId3" Type="http://schemas.openxmlformats.org/officeDocument/2006/relationships/slideLayout" Target="../slideLayouts/slideLayout42.xml"/><Relationship Id="rId21" Type="http://schemas.openxmlformats.org/officeDocument/2006/relationships/slideLayout" Target="../slideLayouts/slideLayout60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20" Type="http://schemas.openxmlformats.org/officeDocument/2006/relationships/slideLayout" Target="../slideLayouts/slideLayout59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24" Type="http://schemas.openxmlformats.org/officeDocument/2006/relationships/image" Target="../media/image4.bin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23" Type="http://schemas.openxmlformats.org/officeDocument/2006/relationships/theme" Target="../theme/theme3.xml"/><Relationship Id="rId10" Type="http://schemas.openxmlformats.org/officeDocument/2006/relationships/slideLayout" Target="../slideLayouts/slideLayout49.xml"/><Relationship Id="rId19" Type="http://schemas.openxmlformats.org/officeDocument/2006/relationships/slideLayout" Target="../slideLayouts/slideLayout58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Relationship Id="rId22" Type="http://schemas.openxmlformats.org/officeDocument/2006/relationships/slideLayout" Target="../slideLayouts/slideLayout6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2" Type="http://schemas.openxmlformats.org/officeDocument/2006/relationships/slideLayout" Target="../slideLayouts/slideLayout63.xml"/><Relationship Id="rId16" Type="http://schemas.openxmlformats.org/officeDocument/2006/relationships/image" Target="../media/image3.jpg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13" Type="http://schemas.openxmlformats.org/officeDocument/2006/relationships/slideLayout" Target="../slideLayouts/slideLayout88.xml"/><Relationship Id="rId18" Type="http://schemas.openxmlformats.org/officeDocument/2006/relationships/slideLayout" Target="../slideLayouts/slideLayout93.xml"/><Relationship Id="rId3" Type="http://schemas.openxmlformats.org/officeDocument/2006/relationships/slideLayout" Target="../slideLayouts/slideLayout78.xml"/><Relationship Id="rId21" Type="http://schemas.openxmlformats.org/officeDocument/2006/relationships/slideLayout" Target="../slideLayouts/slideLayout96.xml"/><Relationship Id="rId7" Type="http://schemas.openxmlformats.org/officeDocument/2006/relationships/slideLayout" Target="../slideLayouts/slideLayout82.xml"/><Relationship Id="rId12" Type="http://schemas.openxmlformats.org/officeDocument/2006/relationships/slideLayout" Target="../slideLayouts/slideLayout87.xml"/><Relationship Id="rId17" Type="http://schemas.openxmlformats.org/officeDocument/2006/relationships/slideLayout" Target="../slideLayouts/slideLayout92.xml"/><Relationship Id="rId25" Type="http://schemas.openxmlformats.org/officeDocument/2006/relationships/image" Target="../media/image4.bin"/><Relationship Id="rId2" Type="http://schemas.openxmlformats.org/officeDocument/2006/relationships/slideLayout" Target="../slideLayouts/slideLayout77.xml"/><Relationship Id="rId16" Type="http://schemas.openxmlformats.org/officeDocument/2006/relationships/slideLayout" Target="../slideLayouts/slideLayout91.xml"/><Relationship Id="rId20" Type="http://schemas.openxmlformats.org/officeDocument/2006/relationships/slideLayout" Target="../slideLayouts/slideLayout95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24" Type="http://schemas.openxmlformats.org/officeDocument/2006/relationships/theme" Target="../theme/theme5.xml"/><Relationship Id="rId5" Type="http://schemas.openxmlformats.org/officeDocument/2006/relationships/slideLayout" Target="../slideLayouts/slideLayout80.xml"/><Relationship Id="rId15" Type="http://schemas.openxmlformats.org/officeDocument/2006/relationships/slideLayout" Target="../slideLayouts/slideLayout90.xml"/><Relationship Id="rId23" Type="http://schemas.openxmlformats.org/officeDocument/2006/relationships/slideLayout" Target="../slideLayouts/slideLayout98.xml"/><Relationship Id="rId10" Type="http://schemas.openxmlformats.org/officeDocument/2006/relationships/slideLayout" Target="../slideLayouts/slideLayout85.xml"/><Relationship Id="rId19" Type="http://schemas.openxmlformats.org/officeDocument/2006/relationships/slideLayout" Target="../slideLayouts/slideLayout94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4" Type="http://schemas.openxmlformats.org/officeDocument/2006/relationships/slideLayout" Target="../slideLayouts/slideLayout89.xml"/><Relationship Id="rId22" Type="http://schemas.openxmlformats.org/officeDocument/2006/relationships/slideLayout" Target="../slideLayouts/slideLayout9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.xml"/><Relationship Id="rId13" Type="http://schemas.openxmlformats.org/officeDocument/2006/relationships/slideLayout" Target="../slideLayouts/slideLayout111.xml"/><Relationship Id="rId18" Type="http://schemas.openxmlformats.org/officeDocument/2006/relationships/slideLayout" Target="../slideLayouts/slideLayout116.xml"/><Relationship Id="rId26" Type="http://schemas.openxmlformats.org/officeDocument/2006/relationships/image" Target="../media/image12.jpg"/><Relationship Id="rId3" Type="http://schemas.openxmlformats.org/officeDocument/2006/relationships/slideLayout" Target="../slideLayouts/slideLayout101.xml"/><Relationship Id="rId21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105.xml"/><Relationship Id="rId12" Type="http://schemas.openxmlformats.org/officeDocument/2006/relationships/slideLayout" Target="../slideLayouts/slideLayout110.xml"/><Relationship Id="rId17" Type="http://schemas.openxmlformats.org/officeDocument/2006/relationships/slideLayout" Target="../slideLayouts/slideLayout115.xml"/><Relationship Id="rId25" Type="http://schemas.openxmlformats.org/officeDocument/2006/relationships/theme" Target="../theme/theme6.xml"/><Relationship Id="rId2" Type="http://schemas.openxmlformats.org/officeDocument/2006/relationships/slideLayout" Target="../slideLayouts/slideLayout100.xml"/><Relationship Id="rId16" Type="http://schemas.openxmlformats.org/officeDocument/2006/relationships/slideLayout" Target="../slideLayouts/slideLayout114.xml"/><Relationship Id="rId20" Type="http://schemas.openxmlformats.org/officeDocument/2006/relationships/slideLayout" Target="../slideLayouts/slideLayout118.xml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11" Type="http://schemas.openxmlformats.org/officeDocument/2006/relationships/slideLayout" Target="../slideLayouts/slideLayout109.xml"/><Relationship Id="rId24" Type="http://schemas.openxmlformats.org/officeDocument/2006/relationships/slideLayout" Target="../slideLayouts/slideLayout122.xml"/><Relationship Id="rId5" Type="http://schemas.openxmlformats.org/officeDocument/2006/relationships/slideLayout" Target="../slideLayouts/slideLayout103.xml"/><Relationship Id="rId15" Type="http://schemas.openxmlformats.org/officeDocument/2006/relationships/slideLayout" Target="../slideLayouts/slideLayout113.xml"/><Relationship Id="rId23" Type="http://schemas.openxmlformats.org/officeDocument/2006/relationships/slideLayout" Target="../slideLayouts/slideLayout121.xml"/><Relationship Id="rId10" Type="http://schemas.openxmlformats.org/officeDocument/2006/relationships/slideLayout" Target="../slideLayouts/slideLayout108.xml"/><Relationship Id="rId19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02.xml"/><Relationship Id="rId9" Type="http://schemas.openxmlformats.org/officeDocument/2006/relationships/slideLayout" Target="../slideLayouts/slideLayout107.xml"/><Relationship Id="rId14" Type="http://schemas.openxmlformats.org/officeDocument/2006/relationships/slideLayout" Target="../slideLayouts/slideLayout112.xml"/><Relationship Id="rId22" Type="http://schemas.openxmlformats.org/officeDocument/2006/relationships/slideLayout" Target="../slideLayouts/slideLayout12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0.xml"/><Relationship Id="rId13" Type="http://schemas.openxmlformats.org/officeDocument/2006/relationships/slideLayout" Target="../slideLayouts/slideLayout135.xml"/><Relationship Id="rId18" Type="http://schemas.openxmlformats.org/officeDocument/2006/relationships/slideLayout" Target="../slideLayouts/slideLayout140.xml"/><Relationship Id="rId3" Type="http://schemas.openxmlformats.org/officeDocument/2006/relationships/slideLayout" Target="../slideLayouts/slideLayout125.xml"/><Relationship Id="rId21" Type="http://schemas.openxmlformats.org/officeDocument/2006/relationships/slideLayout" Target="../slideLayouts/slideLayout143.xml"/><Relationship Id="rId7" Type="http://schemas.openxmlformats.org/officeDocument/2006/relationships/slideLayout" Target="../slideLayouts/slideLayout129.xml"/><Relationship Id="rId12" Type="http://schemas.openxmlformats.org/officeDocument/2006/relationships/slideLayout" Target="../slideLayouts/slideLayout134.xml"/><Relationship Id="rId17" Type="http://schemas.openxmlformats.org/officeDocument/2006/relationships/slideLayout" Target="../slideLayouts/slideLayout139.xml"/><Relationship Id="rId2" Type="http://schemas.openxmlformats.org/officeDocument/2006/relationships/slideLayout" Target="../slideLayouts/slideLayout124.xml"/><Relationship Id="rId16" Type="http://schemas.openxmlformats.org/officeDocument/2006/relationships/slideLayout" Target="../slideLayouts/slideLayout138.xml"/><Relationship Id="rId20" Type="http://schemas.openxmlformats.org/officeDocument/2006/relationships/slideLayout" Target="../slideLayouts/slideLayout142.xml"/><Relationship Id="rId1" Type="http://schemas.openxmlformats.org/officeDocument/2006/relationships/slideLayout" Target="../slideLayouts/slideLayout123.xml"/><Relationship Id="rId6" Type="http://schemas.openxmlformats.org/officeDocument/2006/relationships/slideLayout" Target="../slideLayouts/slideLayout128.xml"/><Relationship Id="rId11" Type="http://schemas.openxmlformats.org/officeDocument/2006/relationships/slideLayout" Target="../slideLayouts/slideLayout133.xml"/><Relationship Id="rId24" Type="http://schemas.openxmlformats.org/officeDocument/2006/relationships/image" Target="../media/image4.bin"/><Relationship Id="rId5" Type="http://schemas.openxmlformats.org/officeDocument/2006/relationships/slideLayout" Target="../slideLayouts/slideLayout127.xml"/><Relationship Id="rId15" Type="http://schemas.openxmlformats.org/officeDocument/2006/relationships/slideLayout" Target="../slideLayouts/slideLayout137.xml"/><Relationship Id="rId23" Type="http://schemas.openxmlformats.org/officeDocument/2006/relationships/theme" Target="../theme/theme7.xml"/><Relationship Id="rId10" Type="http://schemas.openxmlformats.org/officeDocument/2006/relationships/slideLayout" Target="../slideLayouts/slideLayout132.xml"/><Relationship Id="rId19" Type="http://schemas.openxmlformats.org/officeDocument/2006/relationships/slideLayout" Target="../slideLayouts/slideLayout141.xml"/><Relationship Id="rId4" Type="http://schemas.openxmlformats.org/officeDocument/2006/relationships/slideLayout" Target="../slideLayouts/slideLayout126.xml"/><Relationship Id="rId9" Type="http://schemas.openxmlformats.org/officeDocument/2006/relationships/slideLayout" Target="../slideLayouts/slideLayout131.xml"/><Relationship Id="rId14" Type="http://schemas.openxmlformats.org/officeDocument/2006/relationships/slideLayout" Target="../slideLayouts/slideLayout136.xml"/><Relationship Id="rId22" Type="http://schemas.openxmlformats.org/officeDocument/2006/relationships/slideLayout" Target="../slideLayouts/slideLayout14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2.xml"/><Relationship Id="rId13" Type="http://schemas.openxmlformats.org/officeDocument/2006/relationships/slideLayout" Target="../slideLayouts/slideLayout157.xml"/><Relationship Id="rId18" Type="http://schemas.openxmlformats.org/officeDocument/2006/relationships/slideLayout" Target="../slideLayouts/slideLayout162.xml"/><Relationship Id="rId3" Type="http://schemas.openxmlformats.org/officeDocument/2006/relationships/slideLayout" Target="../slideLayouts/slideLayout147.xml"/><Relationship Id="rId21" Type="http://schemas.openxmlformats.org/officeDocument/2006/relationships/slideLayout" Target="../slideLayouts/slideLayout165.xml"/><Relationship Id="rId7" Type="http://schemas.openxmlformats.org/officeDocument/2006/relationships/slideLayout" Target="../slideLayouts/slideLayout151.xml"/><Relationship Id="rId12" Type="http://schemas.openxmlformats.org/officeDocument/2006/relationships/slideLayout" Target="../slideLayouts/slideLayout156.xml"/><Relationship Id="rId17" Type="http://schemas.openxmlformats.org/officeDocument/2006/relationships/slideLayout" Target="../slideLayouts/slideLayout161.xml"/><Relationship Id="rId2" Type="http://schemas.openxmlformats.org/officeDocument/2006/relationships/slideLayout" Target="../slideLayouts/slideLayout146.xml"/><Relationship Id="rId16" Type="http://schemas.openxmlformats.org/officeDocument/2006/relationships/slideLayout" Target="../slideLayouts/slideLayout160.xml"/><Relationship Id="rId20" Type="http://schemas.openxmlformats.org/officeDocument/2006/relationships/slideLayout" Target="../slideLayouts/slideLayout164.xml"/><Relationship Id="rId1" Type="http://schemas.openxmlformats.org/officeDocument/2006/relationships/slideLayout" Target="../slideLayouts/slideLayout145.xml"/><Relationship Id="rId6" Type="http://schemas.openxmlformats.org/officeDocument/2006/relationships/slideLayout" Target="../slideLayouts/slideLayout150.xml"/><Relationship Id="rId11" Type="http://schemas.openxmlformats.org/officeDocument/2006/relationships/slideLayout" Target="../slideLayouts/slideLayout155.xml"/><Relationship Id="rId24" Type="http://schemas.openxmlformats.org/officeDocument/2006/relationships/image" Target="../media/image4.bin"/><Relationship Id="rId5" Type="http://schemas.openxmlformats.org/officeDocument/2006/relationships/slideLayout" Target="../slideLayouts/slideLayout149.xml"/><Relationship Id="rId15" Type="http://schemas.openxmlformats.org/officeDocument/2006/relationships/slideLayout" Target="../slideLayouts/slideLayout159.xml"/><Relationship Id="rId23" Type="http://schemas.openxmlformats.org/officeDocument/2006/relationships/theme" Target="../theme/theme8.xml"/><Relationship Id="rId10" Type="http://schemas.openxmlformats.org/officeDocument/2006/relationships/slideLayout" Target="../slideLayouts/slideLayout154.xml"/><Relationship Id="rId19" Type="http://schemas.openxmlformats.org/officeDocument/2006/relationships/slideLayout" Target="../slideLayouts/slideLayout163.xml"/><Relationship Id="rId4" Type="http://schemas.openxmlformats.org/officeDocument/2006/relationships/slideLayout" Target="../slideLayouts/slideLayout148.xml"/><Relationship Id="rId9" Type="http://schemas.openxmlformats.org/officeDocument/2006/relationships/slideLayout" Target="../slideLayouts/slideLayout153.xml"/><Relationship Id="rId14" Type="http://schemas.openxmlformats.org/officeDocument/2006/relationships/slideLayout" Target="../slideLayouts/slideLayout158.xml"/><Relationship Id="rId22" Type="http://schemas.openxmlformats.org/officeDocument/2006/relationships/slideLayout" Target="../slideLayouts/slideLayout16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4.xml"/><Relationship Id="rId13" Type="http://schemas.openxmlformats.org/officeDocument/2006/relationships/slideLayout" Target="../slideLayouts/slideLayout179.xml"/><Relationship Id="rId18" Type="http://schemas.openxmlformats.org/officeDocument/2006/relationships/slideLayout" Target="../slideLayouts/slideLayout184.xml"/><Relationship Id="rId3" Type="http://schemas.openxmlformats.org/officeDocument/2006/relationships/slideLayout" Target="../slideLayouts/slideLayout169.xml"/><Relationship Id="rId21" Type="http://schemas.openxmlformats.org/officeDocument/2006/relationships/slideLayout" Target="../slideLayouts/slideLayout187.xml"/><Relationship Id="rId7" Type="http://schemas.openxmlformats.org/officeDocument/2006/relationships/slideLayout" Target="../slideLayouts/slideLayout173.xml"/><Relationship Id="rId12" Type="http://schemas.openxmlformats.org/officeDocument/2006/relationships/slideLayout" Target="../slideLayouts/slideLayout178.xml"/><Relationship Id="rId17" Type="http://schemas.openxmlformats.org/officeDocument/2006/relationships/slideLayout" Target="../slideLayouts/slideLayout183.xml"/><Relationship Id="rId25" Type="http://schemas.openxmlformats.org/officeDocument/2006/relationships/image" Target="../media/image4.bin"/><Relationship Id="rId2" Type="http://schemas.openxmlformats.org/officeDocument/2006/relationships/slideLayout" Target="../slideLayouts/slideLayout168.xml"/><Relationship Id="rId16" Type="http://schemas.openxmlformats.org/officeDocument/2006/relationships/slideLayout" Target="../slideLayouts/slideLayout182.xml"/><Relationship Id="rId20" Type="http://schemas.openxmlformats.org/officeDocument/2006/relationships/slideLayout" Target="../slideLayouts/slideLayout186.xml"/><Relationship Id="rId1" Type="http://schemas.openxmlformats.org/officeDocument/2006/relationships/slideLayout" Target="../slideLayouts/slideLayout167.xml"/><Relationship Id="rId6" Type="http://schemas.openxmlformats.org/officeDocument/2006/relationships/slideLayout" Target="../slideLayouts/slideLayout172.xml"/><Relationship Id="rId11" Type="http://schemas.openxmlformats.org/officeDocument/2006/relationships/slideLayout" Target="../slideLayouts/slideLayout177.xml"/><Relationship Id="rId24" Type="http://schemas.openxmlformats.org/officeDocument/2006/relationships/theme" Target="../theme/theme9.xml"/><Relationship Id="rId5" Type="http://schemas.openxmlformats.org/officeDocument/2006/relationships/slideLayout" Target="../slideLayouts/slideLayout171.xml"/><Relationship Id="rId15" Type="http://schemas.openxmlformats.org/officeDocument/2006/relationships/slideLayout" Target="../slideLayouts/slideLayout181.xml"/><Relationship Id="rId23" Type="http://schemas.openxmlformats.org/officeDocument/2006/relationships/slideLayout" Target="../slideLayouts/slideLayout189.xml"/><Relationship Id="rId10" Type="http://schemas.openxmlformats.org/officeDocument/2006/relationships/slideLayout" Target="../slideLayouts/slideLayout176.xml"/><Relationship Id="rId19" Type="http://schemas.openxmlformats.org/officeDocument/2006/relationships/slideLayout" Target="../slideLayouts/slideLayout185.xml"/><Relationship Id="rId4" Type="http://schemas.openxmlformats.org/officeDocument/2006/relationships/slideLayout" Target="../slideLayouts/slideLayout170.xml"/><Relationship Id="rId9" Type="http://schemas.openxmlformats.org/officeDocument/2006/relationships/slideLayout" Target="../slideLayouts/slideLayout175.xml"/><Relationship Id="rId14" Type="http://schemas.openxmlformats.org/officeDocument/2006/relationships/slideLayout" Target="../slideLayouts/slideLayout180.xml"/><Relationship Id="rId22" Type="http://schemas.openxmlformats.org/officeDocument/2006/relationships/slideLayout" Target="../slideLayouts/slideLayout18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9D89FE3-F3AE-30C7-104E-DEBD5707BB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90759098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D89FE3-F3AE-30C7-104E-DEBD5707BB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3207757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73" r:id="rId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9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itre 2">
            <a:extLst>
              <a:ext uri="{FF2B5EF4-FFF2-40B4-BE49-F238E27FC236}">
                <a16:creationId xmlns:a16="http://schemas.microsoft.com/office/drawing/2014/main" id="{6295DA3C-0F90-EDFC-CC2A-D213841AC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510" y="756000"/>
            <a:ext cx="6840000" cy="61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1757021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75" r:id="rId2"/>
    <p:sldLayoutId id="2147483876" r:id="rId3"/>
    <p:sldLayoutId id="2147483877" r:id="rId4"/>
    <p:sldLayoutId id="2147483878" r:id="rId5"/>
    <p:sldLayoutId id="2147483879" r:id="rId6"/>
    <p:sldLayoutId id="2147483880" r:id="rId7"/>
    <p:sldLayoutId id="2147483881" r:id="rId8"/>
    <p:sldLayoutId id="2147483882" r:id="rId9"/>
    <p:sldLayoutId id="2147483883" r:id="rId10"/>
    <p:sldLayoutId id="2147483884" r:id="rId11"/>
    <p:sldLayoutId id="2147483885" r:id="rId12"/>
    <p:sldLayoutId id="2147483886" r:id="rId13"/>
    <p:sldLayoutId id="2147483887" r:id="rId14"/>
    <p:sldLayoutId id="2147483888" r:id="rId15"/>
    <p:sldLayoutId id="2147483889" r:id="rId16"/>
    <p:sldLayoutId id="2147483890" r:id="rId17"/>
  </p:sldLayoutIdLst>
  <p:transition spd="slow">
    <p:fade/>
  </p:transition>
  <p:txStyles>
    <p:titleStyle>
      <a:lvl1pPr algn="r" defTabSz="514337" rtl="1" eaLnBrk="1" latinLnBrk="0" hangingPunct="1">
        <a:lnSpc>
          <a:spcPct val="90000"/>
        </a:lnSpc>
        <a:spcBef>
          <a:spcPct val="0"/>
        </a:spcBef>
        <a:buNone/>
        <a:defRPr lang="fr-MA" sz="1600" b="0" kern="1200" dirty="0">
          <a:solidFill>
            <a:prstClr val="white">
              <a:lumMod val="65000"/>
            </a:prstClr>
          </a:solidFill>
          <a:latin typeface="Microsoft Uighur" panose="02000000000000000000" pitchFamily="2" charset="-78"/>
          <a:ea typeface="+mn-ea"/>
          <a:cs typeface="+mn-cs"/>
        </a:defRPr>
      </a:lvl1pPr>
    </p:titleStyle>
    <p:bodyStyle>
      <a:lvl1pPr marL="128585" indent="-128585" algn="l" defTabSz="514337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38575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42921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900090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157259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414427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596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765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3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6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37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06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675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43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11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18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34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Microsoft Uighur" panose="02000000000000000000" pitchFamily="2" charset="-78"/>
              </a:defRPr>
            </a:lvl1pPr>
          </a:lstStyle>
          <a:p>
            <a:fld id="{B7D3BCD8-9868-4174-A461-8C04FAF3A9DD}" type="datetimeFigureOut">
              <a:rPr lang="fr-FR" smtClean="0"/>
              <a:pPr/>
              <a:t>21/11/2025</a:t>
            </a:fld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Microsoft Uighur" panose="02000000000000000000" pitchFamily="2" charset="-78"/>
              </a:defRPr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Microsoft Uighur" panose="02000000000000000000" pitchFamily="2" charset="-78"/>
              </a:defRPr>
            </a:lvl1pPr>
          </a:lstStyle>
          <a:p>
            <a:fld id="{10B60BE7-EAD2-4C3B-A9F2-B2A20B3BFA21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60411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711" r:id="rId13"/>
    <p:sldLayoutId id="2147483712" r:id="rId14"/>
    <p:sldLayoutId id="2147483713" r:id="rId15"/>
    <p:sldLayoutId id="2147483714" r:id="rId16"/>
    <p:sldLayoutId id="2147483715" r:id="rId17"/>
    <p:sldLayoutId id="2147483716" r:id="rId18"/>
    <p:sldLayoutId id="2147483717" r:id="rId19"/>
    <p:sldLayoutId id="2147483718" r:id="rId20"/>
    <p:sldLayoutId id="2147483719" r:id="rId21"/>
    <p:sldLayoutId id="2147483720" r:id="rId22"/>
    <p:sldLayoutId id="2147483721" r:id="rId23"/>
    <p:sldLayoutId id="2147483722" r:id="rId24"/>
    <p:sldLayoutId id="2147483723" r:id="rId25"/>
    <p:sldLayoutId id="2147483724" r:id="rId26"/>
    <p:sldLayoutId id="2147483741" r:id="rId27"/>
    <p:sldLayoutId id="2147483742" r:id="rId28"/>
    <p:sldLayoutId id="2147483743" r:id="rId29"/>
    <p:sldLayoutId id="2147483744" r:id="rId30"/>
    <p:sldLayoutId id="2147483745" r:id="rId31"/>
    <p:sldLayoutId id="2147483746" r:id="rId32"/>
    <p:sldLayoutId id="2147483747" r:id="rId33"/>
    <p:sldLayoutId id="2147483748" r:id="rId34"/>
    <p:sldLayoutId id="2147483749" r:id="rId35"/>
    <p:sldLayoutId id="2147483750" r:id="rId36"/>
    <p:sldLayoutId id="2147483751" r:id="rId37"/>
    <p:sldLayoutId id="2147483752" r:id="rId3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icrosoft Uighur" panose="02000000000000000000" pitchFamily="2" charset="-78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icrosoft Uighur" panose="02000000000000000000" pitchFamily="2" charset="-78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icrosoft Uighur" panose="02000000000000000000" pitchFamily="2" charset="-78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icrosoft Uighur" panose="02000000000000000000" pitchFamily="2" charset="-78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icrosoft Uighur" panose="02000000000000000000" pitchFamily="2" charset="-78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itre 2">
            <a:extLst>
              <a:ext uri="{FF2B5EF4-FFF2-40B4-BE49-F238E27FC236}">
                <a16:creationId xmlns:a16="http://schemas.microsoft.com/office/drawing/2014/main" id="{6295DA3C-0F90-EDFC-CC2A-D213841AC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73" y="756000"/>
            <a:ext cx="6840000" cy="61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959254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  <p:sldLayoutId id="2147483706" r:id="rId19"/>
    <p:sldLayoutId id="2147483707" r:id="rId20"/>
    <p:sldLayoutId id="2147483708" r:id="rId21"/>
    <p:sldLayoutId id="2147483709" r:id="rId22"/>
  </p:sldLayoutIdLst>
  <p:transition spd="slow">
    <p:fade/>
  </p:transition>
  <p:txStyles>
    <p:titleStyle>
      <a:lvl1pPr algn="r" defTabSz="514337" rtl="1" eaLnBrk="1" latinLnBrk="0" hangingPunct="1">
        <a:lnSpc>
          <a:spcPct val="90000"/>
        </a:lnSpc>
        <a:spcBef>
          <a:spcPct val="0"/>
        </a:spcBef>
        <a:buNone/>
        <a:defRPr lang="fr-MA" sz="1600" b="0" kern="1200" dirty="0">
          <a:solidFill>
            <a:srgbClr val="757575"/>
          </a:solidFill>
          <a:latin typeface="Dosis Medium" pitchFamily="2" charset="0"/>
          <a:ea typeface="+mn-ea"/>
          <a:cs typeface="+mn-cs"/>
        </a:defRPr>
      </a:lvl1pPr>
    </p:titleStyle>
    <p:bodyStyle>
      <a:lvl1pPr marL="128585" indent="-128585" algn="l" defTabSz="514337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38575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42921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900090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157259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414427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596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765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3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6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37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06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675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43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11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18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34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78406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  <p:sldLayoutId id="2147483737" r:id="rId12"/>
    <p:sldLayoutId id="2147483738" r:id="rId13"/>
    <p:sldLayoutId id="2147483739" r:id="rId14"/>
  </p:sldLayoutIdLst>
  <p:transition spd="slow">
    <p:fade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itre 2">
            <a:extLst>
              <a:ext uri="{FF2B5EF4-FFF2-40B4-BE49-F238E27FC236}">
                <a16:creationId xmlns:a16="http://schemas.microsoft.com/office/drawing/2014/main" id="{6295DA3C-0F90-EDFC-CC2A-D213841AC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73" y="756000"/>
            <a:ext cx="6840000" cy="61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823114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60" r:id="rId7"/>
    <p:sldLayoutId id="2147483761" r:id="rId8"/>
    <p:sldLayoutId id="2147483762" r:id="rId9"/>
    <p:sldLayoutId id="2147483763" r:id="rId10"/>
    <p:sldLayoutId id="2147483764" r:id="rId11"/>
    <p:sldLayoutId id="2147483765" r:id="rId12"/>
    <p:sldLayoutId id="2147483766" r:id="rId13"/>
    <p:sldLayoutId id="2147483767" r:id="rId14"/>
    <p:sldLayoutId id="2147483768" r:id="rId15"/>
    <p:sldLayoutId id="2147483769" r:id="rId16"/>
    <p:sldLayoutId id="2147483770" r:id="rId17"/>
    <p:sldLayoutId id="2147483771" r:id="rId18"/>
    <p:sldLayoutId id="2147483772" r:id="rId19"/>
    <p:sldLayoutId id="2147483773" r:id="rId20"/>
    <p:sldLayoutId id="2147483774" r:id="rId21"/>
    <p:sldLayoutId id="2147483775" r:id="rId22"/>
    <p:sldLayoutId id="2147483776" r:id="rId23"/>
  </p:sldLayoutIdLst>
  <p:transition spd="slow">
    <p:fade/>
  </p:transition>
  <p:txStyles>
    <p:titleStyle>
      <a:lvl1pPr algn="r" defTabSz="514337" rtl="1" eaLnBrk="1" latinLnBrk="0" hangingPunct="1">
        <a:lnSpc>
          <a:spcPct val="90000"/>
        </a:lnSpc>
        <a:spcBef>
          <a:spcPct val="0"/>
        </a:spcBef>
        <a:buNone/>
        <a:defRPr lang="fr-MA" sz="1600" b="0" kern="1200" dirty="0">
          <a:solidFill>
            <a:srgbClr val="757575"/>
          </a:solidFill>
          <a:latin typeface="Dosis Medium" pitchFamily="2" charset="0"/>
          <a:ea typeface="+mn-ea"/>
          <a:cs typeface="+mn-cs"/>
        </a:defRPr>
      </a:lvl1pPr>
    </p:titleStyle>
    <p:bodyStyle>
      <a:lvl1pPr marL="128585" indent="-128585" algn="l" defTabSz="514337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38575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42921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900090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157259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414427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596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765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3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6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37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06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675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43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11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18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34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6">
            <a:lum/>
          </a:blip>
          <a:srcRect/>
          <a:stretch>
            <a:fillRect l="-3000" t="-3000" r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289884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  <p:sldLayoutId id="2147483782" r:id="rId5"/>
    <p:sldLayoutId id="2147483783" r:id="rId6"/>
    <p:sldLayoutId id="2147483784" r:id="rId7"/>
    <p:sldLayoutId id="2147483785" r:id="rId8"/>
    <p:sldLayoutId id="2147483786" r:id="rId9"/>
    <p:sldLayoutId id="2147483787" r:id="rId10"/>
    <p:sldLayoutId id="2147483788" r:id="rId11"/>
    <p:sldLayoutId id="2147483789" r:id="rId12"/>
    <p:sldLayoutId id="2147483790" r:id="rId13"/>
    <p:sldLayoutId id="2147483791" r:id="rId14"/>
    <p:sldLayoutId id="2147483792" r:id="rId15"/>
    <p:sldLayoutId id="2147483793" r:id="rId16"/>
    <p:sldLayoutId id="2147483794" r:id="rId17"/>
    <p:sldLayoutId id="2147483795" r:id="rId18"/>
    <p:sldLayoutId id="2147483796" r:id="rId19"/>
    <p:sldLayoutId id="2147483797" r:id="rId20"/>
    <p:sldLayoutId id="2147483798" r:id="rId21"/>
    <p:sldLayoutId id="2147483799" r:id="rId22"/>
    <p:sldLayoutId id="2147483800" r:id="rId23"/>
    <p:sldLayoutId id="2147483801" r:id="rId24"/>
  </p:sldLayoutIdLst>
  <p:transition spd="slow">
    <p:fade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itre 2">
            <a:extLst>
              <a:ext uri="{FF2B5EF4-FFF2-40B4-BE49-F238E27FC236}">
                <a16:creationId xmlns:a16="http://schemas.microsoft.com/office/drawing/2014/main" id="{6295DA3C-0F90-EDFC-CC2A-D213841AC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73" y="756000"/>
            <a:ext cx="6840000" cy="61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1969411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3" r:id="rId1"/>
    <p:sldLayoutId id="2147483804" r:id="rId2"/>
    <p:sldLayoutId id="2147483805" r:id="rId3"/>
    <p:sldLayoutId id="2147483806" r:id="rId4"/>
    <p:sldLayoutId id="2147483807" r:id="rId5"/>
    <p:sldLayoutId id="2147483808" r:id="rId6"/>
    <p:sldLayoutId id="2147483809" r:id="rId7"/>
    <p:sldLayoutId id="2147483810" r:id="rId8"/>
    <p:sldLayoutId id="2147483811" r:id="rId9"/>
    <p:sldLayoutId id="2147483812" r:id="rId10"/>
    <p:sldLayoutId id="2147483813" r:id="rId11"/>
    <p:sldLayoutId id="2147483814" r:id="rId12"/>
    <p:sldLayoutId id="2147483815" r:id="rId13"/>
    <p:sldLayoutId id="2147483816" r:id="rId14"/>
    <p:sldLayoutId id="2147483817" r:id="rId15"/>
    <p:sldLayoutId id="2147483818" r:id="rId16"/>
    <p:sldLayoutId id="2147483819" r:id="rId17"/>
    <p:sldLayoutId id="2147483820" r:id="rId18"/>
    <p:sldLayoutId id="2147483821" r:id="rId19"/>
    <p:sldLayoutId id="2147483822" r:id="rId20"/>
    <p:sldLayoutId id="2147483823" r:id="rId21"/>
    <p:sldLayoutId id="2147483824" r:id="rId22"/>
  </p:sldLayoutIdLst>
  <p:transition spd="slow">
    <p:fade/>
  </p:transition>
  <p:txStyles>
    <p:titleStyle>
      <a:lvl1pPr algn="r" defTabSz="514337" rtl="1" eaLnBrk="1" latinLnBrk="0" hangingPunct="1">
        <a:lnSpc>
          <a:spcPct val="90000"/>
        </a:lnSpc>
        <a:spcBef>
          <a:spcPct val="0"/>
        </a:spcBef>
        <a:buNone/>
        <a:defRPr lang="fr-MA" sz="1600" b="0" kern="1200" dirty="0">
          <a:solidFill>
            <a:srgbClr val="757575"/>
          </a:solidFill>
          <a:latin typeface="Dosis Medium" pitchFamily="2" charset="0"/>
          <a:ea typeface="+mn-ea"/>
          <a:cs typeface="+mn-cs"/>
        </a:defRPr>
      </a:lvl1pPr>
    </p:titleStyle>
    <p:bodyStyle>
      <a:lvl1pPr marL="128585" indent="-128585" algn="l" defTabSz="514337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38575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42921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900090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157259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414427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596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765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3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6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37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06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675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43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11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18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34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itre 2">
            <a:extLst>
              <a:ext uri="{FF2B5EF4-FFF2-40B4-BE49-F238E27FC236}">
                <a16:creationId xmlns:a16="http://schemas.microsoft.com/office/drawing/2014/main" id="{6295DA3C-0F90-EDFC-CC2A-D213841AC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73" y="756000"/>
            <a:ext cx="6840000" cy="61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684337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  <p:sldLayoutId id="2147483832" r:id="rId6"/>
    <p:sldLayoutId id="2147483833" r:id="rId7"/>
    <p:sldLayoutId id="2147483834" r:id="rId8"/>
    <p:sldLayoutId id="2147483835" r:id="rId9"/>
    <p:sldLayoutId id="2147483836" r:id="rId10"/>
    <p:sldLayoutId id="2147483837" r:id="rId11"/>
    <p:sldLayoutId id="2147483838" r:id="rId12"/>
    <p:sldLayoutId id="2147483839" r:id="rId13"/>
    <p:sldLayoutId id="2147483840" r:id="rId14"/>
    <p:sldLayoutId id="2147483841" r:id="rId15"/>
    <p:sldLayoutId id="2147483842" r:id="rId16"/>
    <p:sldLayoutId id="2147483843" r:id="rId17"/>
    <p:sldLayoutId id="2147483844" r:id="rId18"/>
    <p:sldLayoutId id="2147483845" r:id="rId19"/>
    <p:sldLayoutId id="2147483846" r:id="rId20"/>
    <p:sldLayoutId id="2147483847" r:id="rId21"/>
    <p:sldLayoutId id="2147483848" r:id="rId22"/>
  </p:sldLayoutIdLst>
  <p:transition spd="slow">
    <p:fade/>
  </p:transition>
  <p:txStyles>
    <p:titleStyle>
      <a:lvl1pPr algn="r" defTabSz="514337" rtl="1" eaLnBrk="1" latinLnBrk="0" hangingPunct="1">
        <a:lnSpc>
          <a:spcPct val="90000"/>
        </a:lnSpc>
        <a:spcBef>
          <a:spcPct val="0"/>
        </a:spcBef>
        <a:buNone/>
        <a:defRPr lang="fr-MA" sz="1600" b="0" kern="1200" dirty="0">
          <a:solidFill>
            <a:srgbClr val="757575"/>
          </a:solidFill>
          <a:latin typeface="Dosis Medium" pitchFamily="2" charset="0"/>
          <a:ea typeface="+mn-ea"/>
          <a:cs typeface="+mn-cs"/>
        </a:defRPr>
      </a:lvl1pPr>
    </p:titleStyle>
    <p:bodyStyle>
      <a:lvl1pPr marL="128585" indent="-128585" algn="l" defTabSz="514337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38575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42921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900090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157259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414427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596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765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3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6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37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06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675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43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11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18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34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itre 2">
            <a:extLst>
              <a:ext uri="{FF2B5EF4-FFF2-40B4-BE49-F238E27FC236}">
                <a16:creationId xmlns:a16="http://schemas.microsoft.com/office/drawing/2014/main" id="{6295DA3C-0F90-EDFC-CC2A-D213841AC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73" y="756000"/>
            <a:ext cx="6840000" cy="61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623007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  <p:sldLayoutId id="2147483854" r:id="rId5"/>
    <p:sldLayoutId id="2147483855" r:id="rId6"/>
    <p:sldLayoutId id="2147483856" r:id="rId7"/>
    <p:sldLayoutId id="2147483857" r:id="rId8"/>
    <p:sldLayoutId id="2147483858" r:id="rId9"/>
    <p:sldLayoutId id="2147483859" r:id="rId10"/>
    <p:sldLayoutId id="2147483860" r:id="rId11"/>
    <p:sldLayoutId id="2147483861" r:id="rId12"/>
    <p:sldLayoutId id="2147483862" r:id="rId13"/>
    <p:sldLayoutId id="2147483863" r:id="rId14"/>
    <p:sldLayoutId id="2147483864" r:id="rId15"/>
    <p:sldLayoutId id="2147483865" r:id="rId16"/>
    <p:sldLayoutId id="2147483866" r:id="rId17"/>
    <p:sldLayoutId id="2147483867" r:id="rId18"/>
    <p:sldLayoutId id="2147483868" r:id="rId19"/>
    <p:sldLayoutId id="2147483869" r:id="rId20"/>
    <p:sldLayoutId id="2147483870" r:id="rId21"/>
    <p:sldLayoutId id="2147483871" r:id="rId22"/>
    <p:sldLayoutId id="2147483872" r:id="rId23"/>
  </p:sldLayoutIdLst>
  <p:transition spd="slow">
    <p:fade/>
  </p:transition>
  <p:txStyles>
    <p:titleStyle>
      <a:lvl1pPr algn="r" defTabSz="514337" rtl="1" eaLnBrk="1" latinLnBrk="0" hangingPunct="1">
        <a:lnSpc>
          <a:spcPct val="90000"/>
        </a:lnSpc>
        <a:spcBef>
          <a:spcPct val="0"/>
        </a:spcBef>
        <a:buNone/>
        <a:defRPr lang="fr-MA" sz="1600" b="0" kern="1200" dirty="0">
          <a:solidFill>
            <a:srgbClr val="757575"/>
          </a:solidFill>
          <a:latin typeface="Dosis Medium" pitchFamily="2" charset="0"/>
          <a:ea typeface="+mn-ea"/>
          <a:cs typeface="+mn-cs"/>
        </a:defRPr>
      </a:lvl1pPr>
    </p:titleStyle>
    <p:bodyStyle>
      <a:lvl1pPr marL="128585" indent="-128585" algn="l" defTabSz="514337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38575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42921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900090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157259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414427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596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765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3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6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37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06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675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43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11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18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34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7" Type="http://schemas.openxmlformats.org/officeDocument/2006/relationships/image" Target="../media/image38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44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45.png"/><Relationship Id="rId7" Type="http://schemas.openxmlformats.org/officeDocument/2006/relationships/image" Target="../media/image37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microsoft.com/office/2007/relationships/hdphoto" Target="../media/hdphoto5.wdp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4.gif"/><Relationship Id="rId1" Type="http://schemas.openxmlformats.org/officeDocument/2006/relationships/slideLayout" Target="../slideLayouts/slideLayout98.xml"/><Relationship Id="rId5" Type="http://schemas.openxmlformats.org/officeDocument/2006/relationships/image" Target="../media/image36.png"/><Relationship Id="rId4" Type="http://schemas.openxmlformats.org/officeDocument/2006/relationships/image" Target="../media/image3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7" Type="http://schemas.openxmlformats.org/officeDocument/2006/relationships/image" Target="../media/image4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24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7" Type="http://schemas.openxmlformats.org/officeDocument/2006/relationships/image" Target="../media/image38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44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44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4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46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47.png"/><Relationship Id="rId7" Type="http://schemas.openxmlformats.org/officeDocument/2006/relationships/image" Target="../media/image37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microsoft.com/office/2007/relationships/hdphoto" Target="../media/hdphoto6.wdp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46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48.png"/><Relationship Id="rId7" Type="http://schemas.openxmlformats.org/officeDocument/2006/relationships/image" Target="../media/image37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microsoft.com/office/2007/relationships/hdphoto" Target="../media/hdphoto7.wdp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49.png"/><Relationship Id="rId7" Type="http://schemas.openxmlformats.org/officeDocument/2006/relationships/image" Target="../media/image37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microsoft.com/office/2007/relationships/hdphoto" Target="../media/hdphoto8.wdp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50.png"/><Relationship Id="rId7" Type="http://schemas.openxmlformats.org/officeDocument/2006/relationships/image" Target="../media/image37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microsoft.com/office/2007/relationships/hdphoto" Target="../media/hdphoto9.wdp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50.png"/><Relationship Id="rId7" Type="http://schemas.openxmlformats.org/officeDocument/2006/relationships/image" Target="../media/image37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microsoft.com/office/2007/relationships/hdphoto" Target="../media/hdphoto9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28.gif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3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51.png"/><Relationship Id="rId7" Type="http://schemas.openxmlformats.org/officeDocument/2006/relationships/image" Target="../media/image37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microsoft.com/office/2007/relationships/hdphoto" Target="../media/hdphoto10.wdp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51.png"/><Relationship Id="rId7" Type="http://schemas.openxmlformats.org/officeDocument/2006/relationships/image" Target="../media/image37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microsoft.com/office/2007/relationships/hdphoto" Target="../media/hdphoto10.wdp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47.png"/><Relationship Id="rId7" Type="http://schemas.openxmlformats.org/officeDocument/2006/relationships/image" Target="../media/image37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microsoft.com/office/2007/relationships/hdphoto" Target="../media/hdphoto6.wdp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47.png"/><Relationship Id="rId7" Type="http://schemas.openxmlformats.org/officeDocument/2006/relationships/image" Target="../media/image37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microsoft.com/office/2007/relationships/hdphoto" Target="../media/hdphoto6.wdp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52.png"/><Relationship Id="rId7" Type="http://schemas.openxmlformats.org/officeDocument/2006/relationships/image" Target="../media/image37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microsoft.com/office/2007/relationships/hdphoto" Target="../media/hdphoto11.wdp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52.png"/><Relationship Id="rId7" Type="http://schemas.openxmlformats.org/officeDocument/2006/relationships/image" Target="../media/image37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microsoft.com/office/2007/relationships/hdphoto" Target="../media/hdphoto11.wdp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53.png"/><Relationship Id="rId7" Type="http://schemas.openxmlformats.org/officeDocument/2006/relationships/image" Target="../media/image37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microsoft.com/office/2007/relationships/hdphoto" Target="../media/hdphoto12.wdp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53.png"/><Relationship Id="rId7" Type="http://schemas.openxmlformats.org/officeDocument/2006/relationships/image" Target="../media/image37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microsoft.com/office/2007/relationships/hdphoto" Target="../media/hdphoto12.wdp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54.png"/><Relationship Id="rId7" Type="http://schemas.openxmlformats.org/officeDocument/2006/relationships/image" Target="../media/image37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microsoft.com/office/2007/relationships/hdphoto" Target="../media/hdphoto13.wdp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54.png"/><Relationship Id="rId7" Type="http://schemas.openxmlformats.org/officeDocument/2006/relationships/image" Target="../media/image37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microsoft.com/office/2007/relationships/hdphoto" Target="../media/hdphoto13.wdp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gif"/><Relationship Id="rId1" Type="http://schemas.openxmlformats.org/officeDocument/2006/relationships/slideLayout" Target="../slideLayouts/slideLayout13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55.png"/><Relationship Id="rId7" Type="http://schemas.openxmlformats.org/officeDocument/2006/relationships/image" Target="../media/image37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microsoft.com/office/2007/relationships/hdphoto" Target="../media/hdphoto14.wdp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55.png"/><Relationship Id="rId7" Type="http://schemas.openxmlformats.org/officeDocument/2006/relationships/image" Target="../media/image37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microsoft.com/office/2007/relationships/hdphoto" Target="../media/hdphoto14.wdp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4.gif"/><Relationship Id="rId1" Type="http://schemas.openxmlformats.org/officeDocument/2006/relationships/slideLayout" Target="../slideLayouts/slideLayout98.xml"/><Relationship Id="rId4" Type="http://schemas.openxmlformats.org/officeDocument/2006/relationships/image" Target="../media/image33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7" Type="http://schemas.openxmlformats.org/officeDocument/2006/relationships/image" Target="../media/image5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24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0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38.png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37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36.png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0.xml"/><Relationship Id="rId6" Type="http://schemas.openxmlformats.org/officeDocument/2006/relationships/diagramColors" Target="../diagrams/colors2.xml"/><Relationship Id="rId11" Type="http://schemas.openxmlformats.org/officeDocument/2006/relationships/image" Target="../media/image38.png"/><Relationship Id="rId5" Type="http://schemas.openxmlformats.org/officeDocument/2006/relationships/diagramQuickStyle" Target="../diagrams/quickStyle2.xml"/><Relationship Id="rId10" Type="http://schemas.openxmlformats.org/officeDocument/2006/relationships/image" Target="../media/image37.png"/><Relationship Id="rId4" Type="http://schemas.openxmlformats.org/officeDocument/2006/relationships/diagramLayout" Target="../diagrams/layout2.xml"/><Relationship Id="rId9" Type="http://schemas.openxmlformats.org/officeDocument/2006/relationships/image" Target="../media/image36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4.gif"/><Relationship Id="rId1" Type="http://schemas.openxmlformats.org/officeDocument/2006/relationships/slideLayout" Target="../slideLayouts/slideLayout206.xml"/><Relationship Id="rId4" Type="http://schemas.openxmlformats.org/officeDocument/2006/relationships/image" Target="../media/image38.png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slideLayout" Target="../slideLayouts/slideLayout145.xml"/><Relationship Id="rId7" Type="http://schemas.openxmlformats.org/officeDocument/2006/relationships/image" Target="../media/image36.png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35.png"/><Relationship Id="rId5" Type="http://schemas.openxmlformats.org/officeDocument/2006/relationships/image" Target="../media/image28.gif"/><Relationship Id="rId10" Type="http://schemas.openxmlformats.org/officeDocument/2006/relationships/image" Target="../media/image24.png"/><Relationship Id="rId4" Type="http://schemas.openxmlformats.org/officeDocument/2006/relationships/image" Target="../media/image57.png"/><Relationship Id="rId9" Type="http://schemas.openxmlformats.org/officeDocument/2006/relationships/image" Target="../media/image3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gif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3.png"/><Relationship Id="rId5" Type="http://schemas.openxmlformats.org/officeDocument/2006/relationships/image" Target="../media/image14.png"/><Relationship Id="rId4" Type="http://schemas.openxmlformats.org/officeDocument/2006/relationships/image" Target="../media/image32.pn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9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gif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7" Type="http://schemas.openxmlformats.org/officeDocument/2006/relationships/image" Target="../media/image40.jp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slideLayout" Target="../slideLayouts/slideLayout60.xml"/><Relationship Id="rId7" Type="http://schemas.openxmlformats.org/officeDocument/2006/relationships/image" Target="../media/image36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35.png"/><Relationship Id="rId5" Type="http://schemas.openxmlformats.org/officeDocument/2006/relationships/image" Target="../media/image42.png"/><Relationship Id="rId10" Type="http://schemas.openxmlformats.org/officeDocument/2006/relationships/image" Target="../media/image28.gif"/><Relationship Id="rId4" Type="http://schemas.openxmlformats.org/officeDocument/2006/relationships/image" Target="../media/image41.png"/><Relationship Id="rId9" Type="http://schemas.openxmlformats.org/officeDocument/2006/relationships/image" Target="../media/image3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7" Type="http://schemas.openxmlformats.org/officeDocument/2006/relationships/image" Target="../media/image38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FEEA39F8-8CC5-91B6-3AA9-9A3F8C64303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0" b="3877"/>
          <a:stretch>
            <a:fillRect/>
          </a:stretch>
        </p:blipFill>
        <p:spPr>
          <a:xfrm>
            <a:off x="20" y="1282"/>
            <a:ext cx="9143980" cy="6856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3734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673057-B35F-CDB2-0679-18F415F478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>
            <a:extLst>
              <a:ext uri="{FF2B5EF4-FFF2-40B4-BE49-F238E27FC236}">
                <a16:creationId xmlns:a16="http://schemas.microsoft.com/office/drawing/2014/main" id="{83A850F1-364D-E513-32FA-5F48532E66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ar-MA" sz="2400" b="1" dirty="0">
                <a:solidFill>
                  <a:schemeClr val="bg1">
                    <a:lumMod val="50000"/>
                  </a:scheme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على ألواحكم أجيبوا عن الأسئلة التالية من خلال النص. سأسجل نسبة التحكم</a:t>
            </a:r>
            <a:endParaRPr lang="fr-FR" sz="24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27" name="Espace réservé pour une image  12">
            <a:extLst>
              <a:ext uri="{FF2B5EF4-FFF2-40B4-BE49-F238E27FC236}">
                <a16:creationId xmlns:a16="http://schemas.microsoft.com/office/drawing/2014/main" id="{FAE2E58C-7D5B-C34D-6F9F-3B7EBFA919D5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DD304C3B-A3C2-8866-D357-E05A3F4F5BD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5890"/>
          <a:stretch>
            <a:fillRect/>
          </a:stretch>
        </p:blipFill>
        <p:spPr>
          <a:xfrm>
            <a:off x="790955" y="2587535"/>
            <a:ext cx="7562090" cy="2929346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9D14C9D4-B477-4690-1C2F-062C3D33E4A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4D5BC965-DCD1-E4A4-5DF6-9126A8A7EEA7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CF5C3FE5-501B-F26F-93A0-CA4048DF73A7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A79E11E9-38CC-32DA-2011-819AEE49ACAD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91AA4F07-3315-D933-741C-D5DEEDB5A40F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2000" b="1" dirty="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افتتاح</a:t>
            </a:r>
            <a:r>
              <a:rPr lang="ar-MA" sz="2000" b="1" dirty="0">
                <a:solidFill>
                  <a:srgbClr val="565F88">
                    <a:alpha val="20000"/>
                  </a:srgbClr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 </a:t>
            </a:r>
            <a:r>
              <a:rPr lang="ar-MA" sz="2000" b="1" dirty="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الحصة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A8F1B4B-A153-6920-7539-7B1CFACB1092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551292A-7ED3-3922-A1A3-72CCF9B7859D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A3DEE93-D3A6-2722-8B10-6A75B29E3618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قراءة الإثرائية</a:t>
            </a:r>
          </a:p>
        </p:txBody>
      </p:sp>
    </p:spTree>
    <p:extLst>
      <p:ext uri="{BB962C8B-B14F-4D97-AF65-F5344CB8AC3E}">
        <p14:creationId xmlns:p14="http://schemas.microsoft.com/office/powerpoint/2010/main" val="2158274870"/>
      </p:ext>
    </p:extLst>
  </p:cSld>
  <p:clrMapOvr>
    <a:masterClrMapping/>
  </p:clrMapOvr>
  <p:transition spd="slow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05021E-D218-B50F-7257-B89B104B60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>
            <a:extLst>
              <a:ext uri="{FF2B5EF4-FFF2-40B4-BE49-F238E27FC236}">
                <a16:creationId xmlns:a16="http://schemas.microsoft.com/office/drawing/2014/main" id="{4FAFDB7D-9F81-5B68-816B-DCE94FC518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ar-MA" sz="2400" b="1" dirty="0">
                <a:solidFill>
                  <a:schemeClr val="bg1">
                    <a:lumMod val="50000"/>
                  </a:scheme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السؤال الأول.  أكتب سؤالا باستعمال "ما" يكون جوابه واردا في النص.</a:t>
            </a:r>
            <a:endParaRPr lang="fr-FR" sz="2400" b="1" dirty="0">
              <a:solidFill>
                <a:schemeClr val="bg1">
                  <a:lumMod val="50000"/>
                </a:schemeClr>
              </a:solidFill>
              <a:latin typeface="Microsoft Uighur" panose="02000000000000000000" pitchFamily="2" charset="-78"/>
              <a:ea typeface="Calibri" panose="020F0502020204030204" pitchFamily="34" charset="0"/>
              <a:cs typeface="Microsoft Uighur" panose="02000000000000000000" pitchFamily="2" charset="-78"/>
            </a:endParaRPr>
          </a:p>
        </p:txBody>
      </p:sp>
      <p:pic>
        <p:nvPicPr>
          <p:cNvPr id="14" name="Espace réservé pour une image  12">
            <a:extLst>
              <a:ext uri="{FF2B5EF4-FFF2-40B4-BE49-F238E27FC236}">
                <a16:creationId xmlns:a16="http://schemas.microsoft.com/office/drawing/2014/main" id="{DDF5F1D0-D8E9-D1E9-E75E-BE88CCB39975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sp>
        <p:nvSpPr>
          <p:cNvPr id="7" name="Google Shape;452;p158">
            <a:extLst>
              <a:ext uri="{FF2B5EF4-FFF2-40B4-BE49-F238E27FC236}">
                <a16:creationId xmlns:a16="http://schemas.microsoft.com/office/drawing/2014/main" id="{25C45900-8BCC-2CC0-ECD5-8C8752CE2FEF}"/>
              </a:ext>
            </a:extLst>
          </p:cNvPr>
          <p:cNvSpPr txBox="1"/>
          <p:nvPr/>
        </p:nvSpPr>
        <p:spPr>
          <a:xfrm>
            <a:off x="1347155" y="1765698"/>
            <a:ext cx="6449689" cy="919356"/>
          </a:xfrm>
          <a:prstGeom prst="round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  <a:sym typeface="Sakkal Majalla"/>
              </a:rPr>
              <a:t>ما ..........................................</a:t>
            </a:r>
            <a:r>
              <a:rPr lang="ar-MA" b="1" dirty="0">
                <a:solidFill>
                  <a:srgbClr val="424D7C"/>
                </a:solidFill>
                <a:sym typeface="Sakkal Majalla"/>
              </a:rPr>
              <a:t>؟</a:t>
            </a:r>
            <a:endParaRPr kumimoji="0" sz="4800" b="1" i="0" u="none" strike="noStrike" kern="1200" cap="none" spc="0" normalizeH="0" baseline="0" noProof="0" dirty="0">
              <a:ln>
                <a:noFill/>
              </a:ln>
              <a:solidFill>
                <a:srgbClr val="424D7C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  <a:sym typeface="Calibri"/>
            </a:endParaRP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B6076319-E48B-57C9-419E-31391DE8089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4E217697-7F5C-19B5-657C-75F5F54E4CEA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7A6EDE27-AB48-C018-14CE-E4BAE2474D10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8B71A9EA-A3A6-F22E-869E-CA01526BE47D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D89D6B46-8FA8-40E6-9FBB-3CD8F0F2F61D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2000" b="1" dirty="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افتتاح</a:t>
            </a:r>
            <a:r>
              <a:rPr lang="ar-MA" sz="2000" b="1" dirty="0">
                <a:solidFill>
                  <a:srgbClr val="565F88">
                    <a:alpha val="20000"/>
                  </a:srgbClr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 </a:t>
            </a:r>
            <a:r>
              <a:rPr lang="ar-MA" sz="2000" b="1" dirty="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الحصة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8710368-E005-C2FD-2F7D-166E3E7DD964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30B4444-4E90-74AD-314A-903F229C04AB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25B0F82-73F1-1388-F246-68A61D1688AB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6FFF4AC3-5A79-1B4D-338D-52F7228E620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5890"/>
          <a:stretch>
            <a:fillRect/>
          </a:stretch>
        </p:blipFill>
        <p:spPr>
          <a:xfrm>
            <a:off x="790955" y="3082752"/>
            <a:ext cx="7562090" cy="2929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0100560"/>
      </p:ext>
    </p:extLst>
  </p:cSld>
  <p:clrMapOvr>
    <a:masterClrMapping/>
  </p:clrMapOvr>
  <p:transition spd="slow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E47FD2-AE95-45EB-534C-C3ECC785CB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>
            <a:extLst>
              <a:ext uri="{FF2B5EF4-FFF2-40B4-BE49-F238E27FC236}">
                <a16:creationId xmlns:a16="http://schemas.microsoft.com/office/drawing/2014/main" id="{74BF7CFD-E1F1-792A-0745-BA1D484AA1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ar-MA" sz="2400" b="1" dirty="0">
                <a:solidFill>
                  <a:schemeClr val="bg1">
                    <a:lumMod val="50000"/>
                  </a:scheme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السؤال الثاني.  أكتب سؤالا باستعمال كيف. </a:t>
            </a:r>
            <a:endParaRPr lang="fr-FR" sz="2400" b="1" dirty="0">
              <a:solidFill>
                <a:schemeClr val="bg1">
                  <a:lumMod val="50000"/>
                </a:schemeClr>
              </a:solidFill>
              <a:latin typeface="Microsoft Uighur" panose="02000000000000000000" pitchFamily="2" charset="-78"/>
              <a:ea typeface="Calibri" panose="020F0502020204030204" pitchFamily="34" charset="0"/>
              <a:cs typeface="Microsoft Uighur" panose="02000000000000000000" pitchFamily="2" charset="-78"/>
            </a:endParaRPr>
          </a:p>
        </p:txBody>
      </p:sp>
      <p:pic>
        <p:nvPicPr>
          <p:cNvPr id="14" name="Espace réservé pour une image  12">
            <a:extLst>
              <a:ext uri="{FF2B5EF4-FFF2-40B4-BE49-F238E27FC236}">
                <a16:creationId xmlns:a16="http://schemas.microsoft.com/office/drawing/2014/main" id="{300AE51D-1FF0-4B58-0DF7-63A14A1288A8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sp>
        <p:nvSpPr>
          <p:cNvPr id="7" name="Google Shape;452;p158">
            <a:extLst>
              <a:ext uri="{FF2B5EF4-FFF2-40B4-BE49-F238E27FC236}">
                <a16:creationId xmlns:a16="http://schemas.microsoft.com/office/drawing/2014/main" id="{F3463CF4-2FE9-CAD8-D795-7B1B5C774807}"/>
              </a:ext>
            </a:extLst>
          </p:cNvPr>
          <p:cNvSpPr txBox="1"/>
          <p:nvPr/>
        </p:nvSpPr>
        <p:spPr>
          <a:xfrm>
            <a:off x="1347155" y="1765698"/>
            <a:ext cx="6449689" cy="91935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  <a:sym typeface="Sakkal Majalla"/>
              </a:rPr>
              <a:t>كَيْفَ ..........................................</a:t>
            </a:r>
            <a:r>
              <a:rPr lang="ar-MA" b="1" dirty="0">
                <a:solidFill>
                  <a:srgbClr val="424D7C"/>
                </a:solidFill>
                <a:sym typeface="Sakkal Majalla"/>
              </a:rPr>
              <a:t>؟</a:t>
            </a:r>
            <a:endParaRPr kumimoji="0" sz="4800" b="1" i="0" u="none" strike="noStrike" kern="1200" cap="none" spc="0" normalizeH="0" baseline="0" noProof="0" dirty="0">
              <a:ln>
                <a:noFill/>
              </a:ln>
              <a:solidFill>
                <a:srgbClr val="424D7C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  <a:sym typeface="Calibri"/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ADB4BDDC-FC10-5F4C-4E29-06E4D7B1F92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81856" y="2866426"/>
            <a:ext cx="8126963" cy="3582954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DAC7D92E-D605-8190-2EAB-F8783F9B398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6AD56A3B-8818-5093-64B3-DE746ADEBB53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A6D6240A-D2AC-BE8D-31E0-EACED781CD19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348E480E-F6F0-F854-B789-02D09676CCF3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46A10546-1243-7C7B-BC7B-0D32146B8C00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2000" b="1" dirty="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افتتاح</a:t>
            </a:r>
            <a:r>
              <a:rPr lang="ar-MA" sz="2000" b="1" dirty="0">
                <a:solidFill>
                  <a:srgbClr val="565F88">
                    <a:alpha val="20000"/>
                  </a:srgbClr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 </a:t>
            </a:r>
            <a:r>
              <a:rPr lang="ar-MA" sz="2000" b="1" dirty="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الحصة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1EA0B58-D330-AA14-20A1-E89E4A05461F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37E6B31-B749-383C-C9A9-13B63A1E52EF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4851FBC-E095-1639-99E7-442D5126AB3F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قراءة الإثرائية</a:t>
            </a:r>
          </a:p>
        </p:txBody>
      </p:sp>
    </p:spTree>
    <p:extLst>
      <p:ext uri="{BB962C8B-B14F-4D97-AF65-F5344CB8AC3E}">
        <p14:creationId xmlns:p14="http://schemas.microsoft.com/office/powerpoint/2010/main" val="1958308443"/>
      </p:ext>
    </p:extLst>
  </p:cSld>
  <p:clrMapOvr>
    <a:masterClrMapping/>
  </p:clrMapOvr>
  <p:transition spd="slow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0173F8-6D1E-93DD-646F-C35A310329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>
            <a:extLst>
              <a:ext uri="{FF2B5EF4-FFF2-40B4-BE49-F238E27FC236}">
                <a16:creationId xmlns:a16="http://schemas.microsoft.com/office/drawing/2014/main" id="{D60F2236-25B4-62C1-9623-B68DD6378A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ar-MA" sz="2400" b="1" dirty="0">
                <a:solidFill>
                  <a:schemeClr val="bg1">
                    <a:lumMod val="50000"/>
                  </a:scheme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السؤال الثالث .أدخل ناسخا فعليا يفيد التحول على الجملة التالية. </a:t>
            </a:r>
            <a:endParaRPr lang="fr-FR" sz="2400" b="1" dirty="0">
              <a:solidFill>
                <a:schemeClr val="bg1">
                  <a:lumMod val="50000"/>
                </a:schemeClr>
              </a:solidFill>
              <a:latin typeface="Microsoft Uighur" panose="02000000000000000000" pitchFamily="2" charset="-78"/>
              <a:ea typeface="Calibri" panose="020F0502020204030204" pitchFamily="34" charset="0"/>
              <a:cs typeface="Microsoft Uighur" panose="02000000000000000000" pitchFamily="2" charset="-78"/>
            </a:endParaRPr>
          </a:p>
        </p:txBody>
      </p:sp>
      <p:sp>
        <p:nvSpPr>
          <p:cNvPr id="2" name="Google Shape;452;p158">
            <a:extLst>
              <a:ext uri="{FF2B5EF4-FFF2-40B4-BE49-F238E27FC236}">
                <a16:creationId xmlns:a16="http://schemas.microsoft.com/office/drawing/2014/main" id="{D9BAF1D3-1B80-F64F-9DFB-E9F12591496F}"/>
              </a:ext>
            </a:extLst>
          </p:cNvPr>
          <p:cNvSpPr txBox="1"/>
          <p:nvPr/>
        </p:nvSpPr>
        <p:spPr>
          <a:xfrm>
            <a:off x="1347156" y="2867167"/>
            <a:ext cx="6449689" cy="1123667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6000" b="1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  <a:sym typeface="Sakkal Majalla"/>
              </a:rPr>
              <a:t>اَلتَّعاوُنُ ضَرورٍيٌّ.</a:t>
            </a:r>
            <a:endParaRPr kumimoji="0" sz="6000" b="1" i="0" u="none" strike="noStrike" kern="1200" cap="none" spc="0" normalizeH="0" baseline="0" noProof="0" dirty="0">
              <a:ln>
                <a:noFill/>
              </a:ln>
              <a:solidFill>
                <a:srgbClr val="424D7C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  <a:sym typeface="Calibri"/>
            </a:endParaRPr>
          </a:p>
        </p:txBody>
      </p:sp>
      <p:pic>
        <p:nvPicPr>
          <p:cNvPr id="14" name="Espace réservé pour une image  12">
            <a:extLst>
              <a:ext uri="{FF2B5EF4-FFF2-40B4-BE49-F238E27FC236}">
                <a16:creationId xmlns:a16="http://schemas.microsoft.com/office/drawing/2014/main" id="{304B41D3-09C3-C8CA-B026-ABA0A2DE2F71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3609C00D-AE9C-9530-720E-BE947D4F3E3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C6BCB895-AC51-DD14-B628-3F151D70CFF4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63D52A24-9AC0-7455-F4FD-478BBA9F14AB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E54CD2BB-8EA6-2B2E-9798-D47CED14ACAA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6AC6B6CF-4F96-13DB-AEC6-238C90F5F481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2000" b="1" dirty="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افتتاح</a:t>
            </a:r>
            <a:r>
              <a:rPr lang="ar-MA" sz="2000" b="1" dirty="0">
                <a:solidFill>
                  <a:srgbClr val="565F88">
                    <a:alpha val="20000"/>
                  </a:srgbClr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 </a:t>
            </a:r>
            <a:r>
              <a:rPr lang="ar-MA" sz="2000" b="1" dirty="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الحصة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F67895E-35C9-DD9E-FE4A-39C07FAB2974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2B0040E-7D97-A760-B1E6-D15557D89066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86B81B7-F5B1-4A8C-BA8F-0F8957590E95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قراءة الإثرائية</a:t>
            </a:r>
          </a:p>
        </p:txBody>
      </p:sp>
    </p:spTree>
    <p:extLst>
      <p:ext uri="{BB962C8B-B14F-4D97-AF65-F5344CB8AC3E}">
        <p14:creationId xmlns:p14="http://schemas.microsoft.com/office/powerpoint/2010/main" val="1990345239"/>
      </p:ext>
    </p:extLst>
  </p:cSld>
  <p:clrMapOvr>
    <a:masterClrMapping/>
  </p:clrMapOvr>
  <p:transition spd="slow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65C776E2-EBEC-1C84-DDC0-0CA04883DB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079347"/>
            <a:ext cx="7886700" cy="720000"/>
          </a:xfrm>
        </p:spPr>
        <p:txBody>
          <a:bodyPr/>
          <a:lstStyle/>
          <a:p>
            <a:pPr rtl="1"/>
            <a:r>
              <a:rPr lang="ar-MA" sz="5400" dirty="0">
                <a:solidFill>
                  <a:srgbClr val="424D7B"/>
                </a:solidFill>
                <a:latin typeface="Microsoft Uighur" panose="02000000000000000000" pitchFamily="2" charset="-78"/>
              </a:rPr>
              <a:t>عند نهاية رائز التحقق</a:t>
            </a:r>
            <a:endParaRPr lang="fr-MA" sz="5400" dirty="0">
              <a:solidFill>
                <a:srgbClr val="424D7B"/>
              </a:solidFill>
              <a:latin typeface="Microsoft Uighur" panose="02000000000000000000" pitchFamily="2" charset="-78"/>
            </a:endParaRPr>
          </a:p>
        </p:txBody>
      </p:sp>
      <p:sp>
        <p:nvSpPr>
          <p:cNvPr id="5" name="Google Shape;452;p158">
            <a:extLst>
              <a:ext uri="{FF2B5EF4-FFF2-40B4-BE49-F238E27FC236}">
                <a16:creationId xmlns:a16="http://schemas.microsoft.com/office/drawing/2014/main" id="{704BE1AA-7525-7712-CF9E-1CC63D3D82B4}"/>
              </a:ext>
            </a:extLst>
          </p:cNvPr>
          <p:cNvSpPr txBox="1"/>
          <p:nvPr/>
        </p:nvSpPr>
        <p:spPr>
          <a:xfrm>
            <a:off x="5123949" y="2446331"/>
            <a:ext cx="3149266" cy="64694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32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  <a:sym typeface="Sakkal Majalla"/>
              </a:rPr>
              <a:t>نسبة التحكم أقل من</a:t>
            </a:r>
            <a:r>
              <a:rPr kumimoji="0" lang="fr-FR" sz="32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lang="fr-FR" sz="3200" dirty="0">
                <a:solidFill>
                  <a:srgbClr val="C00000"/>
                </a:solidFill>
              </a:rPr>
              <a:t>80%</a:t>
            </a:r>
            <a:r>
              <a:rPr kumimoji="0" lang="ar-MA" sz="32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  <a:sym typeface="Sakkal Majalla"/>
              </a:rPr>
              <a:t> </a:t>
            </a:r>
            <a:endParaRPr kumimoji="0" sz="32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6" name="Google Shape;452;p158">
            <a:extLst>
              <a:ext uri="{FF2B5EF4-FFF2-40B4-BE49-F238E27FC236}">
                <a16:creationId xmlns:a16="http://schemas.microsoft.com/office/drawing/2014/main" id="{5A1FF613-DB5A-6055-0A43-EC8D392EA43E}"/>
              </a:ext>
            </a:extLst>
          </p:cNvPr>
          <p:cNvSpPr txBox="1"/>
          <p:nvPr/>
        </p:nvSpPr>
        <p:spPr>
          <a:xfrm>
            <a:off x="4726907" y="4088198"/>
            <a:ext cx="3943350" cy="1736601"/>
          </a:xfrm>
          <a:prstGeom prst="roundRect">
            <a:avLst/>
          </a:prstGeom>
          <a:solidFill>
            <a:srgbClr val="F0F9FE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3200" dirty="0">
                <a:solidFill>
                  <a:srgbClr val="424D7B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إعادة نمذجة + استثمار أنشطة المراجعة في الممارسة الموجهة والممارسة المستقلة</a:t>
            </a:r>
            <a:endParaRPr kumimoji="0" sz="3200" b="0" i="0" u="none" strike="noStrike" kern="1200" cap="none" spc="0" normalizeH="0" baseline="0" noProof="0" dirty="0">
              <a:ln>
                <a:noFill/>
              </a:ln>
              <a:solidFill>
                <a:srgbClr val="424D7B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7" name="Flèche : bas 6">
            <a:extLst>
              <a:ext uri="{FF2B5EF4-FFF2-40B4-BE49-F238E27FC236}">
                <a16:creationId xmlns:a16="http://schemas.microsoft.com/office/drawing/2014/main" id="{B04456D1-E9EC-5DCA-2911-B940AFCE0785}"/>
              </a:ext>
            </a:extLst>
          </p:cNvPr>
          <p:cNvSpPr/>
          <p:nvPr/>
        </p:nvSpPr>
        <p:spPr>
          <a:xfrm>
            <a:off x="6456266" y="3251052"/>
            <a:ext cx="353608" cy="646941"/>
          </a:xfrm>
          <a:prstGeom prst="downArrow">
            <a:avLst/>
          </a:prstGeom>
          <a:solidFill>
            <a:srgbClr val="424D7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9" name="Google Shape;452;p158">
            <a:extLst>
              <a:ext uri="{FF2B5EF4-FFF2-40B4-BE49-F238E27FC236}">
                <a16:creationId xmlns:a16="http://schemas.microsoft.com/office/drawing/2014/main" id="{0C9701EA-A7CB-B2F1-5E80-22F023498239}"/>
              </a:ext>
            </a:extLst>
          </p:cNvPr>
          <p:cNvSpPr txBox="1"/>
          <p:nvPr/>
        </p:nvSpPr>
        <p:spPr>
          <a:xfrm>
            <a:off x="788564" y="2478416"/>
            <a:ext cx="3149266" cy="64694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32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  <a:sym typeface="Sakkal Majalla"/>
              </a:rPr>
              <a:t>نسبة التحكم </a:t>
            </a:r>
            <a:r>
              <a:rPr lang="fr-FR" sz="3200" dirty="0">
                <a:solidFill>
                  <a:srgbClr val="C00000"/>
                </a:solidFill>
              </a:rPr>
              <a:t>80%</a:t>
            </a:r>
            <a:r>
              <a:rPr kumimoji="0" lang="ar-MA" sz="32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  <a:sym typeface="Sakkal Majalla"/>
              </a:rPr>
              <a:t> وأكثر</a:t>
            </a:r>
            <a:endParaRPr kumimoji="0" sz="32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10" name="Google Shape;452;p158">
            <a:extLst>
              <a:ext uri="{FF2B5EF4-FFF2-40B4-BE49-F238E27FC236}">
                <a16:creationId xmlns:a16="http://schemas.microsoft.com/office/drawing/2014/main" id="{C5D1C612-4530-BE97-EAE0-E8B89DBDF1B6}"/>
              </a:ext>
            </a:extLst>
          </p:cNvPr>
          <p:cNvSpPr txBox="1"/>
          <p:nvPr/>
        </p:nvSpPr>
        <p:spPr>
          <a:xfrm>
            <a:off x="391522" y="4087858"/>
            <a:ext cx="3943350" cy="1736941"/>
          </a:xfrm>
          <a:prstGeom prst="roundRect">
            <a:avLst/>
          </a:prstGeom>
          <a:solidFill>
            <a:srgbClr val="F0F9FE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ctr" anchorCtr="0">
            <a:normAutofit/>
          </a:bodyPr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3200" dirty="0">
                <a:solidFill>
                  <a:srgbClr val="424D7B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استثمار الأنشطة للدعم والإغناء.</a:t>
            </a:r>
          </a:p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3200" dirty="0">
                <a:solidFill>
                  <a:srgbClr val="424D7B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ممارسة مستقلة لجميع الأنشطة.</a:t>
            </a:r>
            <a:endParaRPr kumimoji="0" sz="3200" b="0" i="0" u="none" strike="noStrike" kern="1200" cap="none" spc="0" normalizeH="0" baseline="0" noProof="0" dirty="0">
              <a:ln>
                <a:noFill/>
              </a:ln>
              <a:solidFill>
                <a:srgbClr val="424D7B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11" name="Flèche : bas 10">
            <a:extLst>
              <a:ext uri="{FF2B5EF4-FFF2-40B4-BE49-F238E27FC236}">
                <a16:creationId xmlns:a16="http://schemas.microsoft.com/office/drawing/2014/main" id="{D6E24C30-117D-C029-08B0-C6043E333A3A}"/>
              </a:ext>
            </a:extLst>
          </p:cNvPr>
          <p:cNvSpPr/>
          <p:nvPr/>
        </p:nvSpPr>
        <p:spPr>
          <a:xfrm>
            <a:off x="2120881" y="3283137"/>
            <a:ext cx="353608" cy="646941"/>
          </a:xfrm>
          <a:prstGeom prst="downArrow">
            <a:avLst/>
          </a:prstGeom>
          <a:solidFill>
            <a:srgbClr val="424D7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28347043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10" grpId="0" animBg="1"/>
      <p:bldP spid="11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1CF985-FD44-284B-1EF4-455AC5E64F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Image 27">
            <a:extLst>
              <a:ext uri="{FF2B5EF4-FFF2-40B4-BE49-F238E27FC236}">
                <a16:creationId xmlns:a16="http://schemas.microsoft.com/office/drawing/2014/main" id="{BD78FFDB-B479-91B6-318E-6F279EADDF0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495" t="10740" r="-4368" b="1155"/>
          <a:stretch>
            <a:fillRect/>
          </a:stretch>
        </p:blipFill>
        <p:spPr>
          <a:xfrm>
            <a:off x="678137" y="1807373"/>
            <a:ext cx="7789894" cy="4824000"/>
          </a:xfrm>
          <a:prstGeom prst="rect">
            <a:avLst/>
          </a:prstGeom>
        </p:spPr>
      </p:pic>
      <p:pic>
        <p:nvPicPr>
          <p:cNvPr id="31" name="Image 30">
            <a:extLst>
              <a:ext uri="{FF2B5EF4-FFF2-40B4-BE49-F238E27FC236}">
                <a16:creationId xmlns:a16="http://schemas.microsoft.com/office/drawing/2014/main" id="{EF3FC7D3-16E7-32AB-47D1-DFBED1F025E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125259" y="1983798"/>
            <a:ext cx="799263" cy="792000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71F05B45-4F3B-4AC0-FD76-415805DB6A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812399"/>
            <a:ext cx="7886700" cy="720000"/>
          </a:xfrm>
        </p:spPr>
        <p:txBody>
          <a:bodyPr/>
          <a:lstStyle/>
          <a:p>
            <a:pPr lvl="0">
              <a:defRPr/>
            </a:pPr>
            <a:r>
              <a:rPr lang="ar-MA" dirty="0">
                <a:solidFill>
                  <a:srgbClr val="424D7B"/>
                </a:solidFill>
              </a:rPr>
              <a:t>مراجعة وتوليف </a:t>
            </a:r>
          </a:p>
        </p:txBody>
      </p:sp>
      <p:sp>
        <p:nvSpPr>
          <p:cNvPr id="5" name="Espace réservé du texte 5">
            <a:extLst>
              <a:ext uri="{FF2B5EF4-FFF2-40B4-BE49-F238E27FC236}">
                <a16:creationId xmlns:a16="http://schemas.microsoft.com/office/drawing/2014/main" id="{1C85B691-E8E6-CBFE-8F93-727DFAC3558A}"/>
              </a:ext>
            </a:extLst>
          </p:cNvPr>
          <p:cNvSpPr txBox="1">
            <a:spLocks/>
          </p:cNvSpPr>
          <p:nvPr/>
        </p:nvSpPr>
        <p:spPr>
          <a:xfrm>
            <a:off x="2267712" y="3158999"/>
            <a:ext cx="4964709" cy="540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 kern="1200">
                <a:solidFill>
                  <a:srgbClr val="757575"/>
                </a:solidFill>
                <a:latin typeface="Dosis SemiBold" pitchFamily="2" charset="0"/>
                <a:ea typeface="+mn-ea"/>
                <a:cs typeface="+mn-cs"/>
              </a:defRPr>
            </a:lvl1pPr>
            <a:lvl2pPr marL="685800" indent="-2286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 kern="1200">
                <a:solidFill>
                  <a:srgbClr val="757575"/>
                </a:solidFill>
                <a:latin typeface="Dosis SemiBold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marR="0" lvl="0" indent="-266700" algn="r" defTabSz="914400" rtl="1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24D7B"/>
              </a:buClr>
              <a:buSzPct val="50000"/>
              <a:buFont typeface="Wingdings" panose="05000000000000000000" pitchFamily="2" charset="2"/>
              <a:buChar char="l"/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Dosis SemiBold" pitchFamily="2" charset="0"/>
                <a:ea typeface="+mn-ea"/>
                <a:cs typeface="Microsoft Uighur" panose="02000000000000000000" pitchFamily="2" charset="-78"/>
              </a:rPr>
              <a:t>معالجة التعثرات ودعم المكتسبات</a:t>
            </a:r>
          </a:p>
        </p:txBody>
      </p:sp>
      <p:pic>
        <p:nvPicPr>
          <p:cNvPr id="6" name="Espace réservé pour une image  20">
            <a:extLst>
              <a:ext uri="{FF2B5EF4-FFF2-40B4-BE49-F238E27FC236}">
                <a16:creationId xmlns:a16="http://schemas.microsoft.com/office/drawing/2014/main" id="{AED3BA7B-63D1-DAEB-A7B7-16C6E10F855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560" r="-7560"/>
          <a:stretch>
            <a:fillRect/>
          </a:stretch>
        </p:blipFill>
        <p:spPr>
          <a:xfrm>
            <a:off x="903951" y="1756564"/>
            <a:ext cx="540000" cy="540000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CBC60C81-D7D7-2EAD-6045-0B3B679B5792}"/>
              </a:ext>
            </a:extLst>
          </p:cNvPr>
          <p:cNvSpPr txBox="1"/>
          <p:nvPr/>
        </p:nvSpPr>
        <p:spPr>
          <a:xfrm>
            <a:off x="3903631" y="1807822"/>
            <a:ext cx="332879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   </a:t>
            </a:r>
            <a:r>
              <a:rPr kumimoji="0" lang="ar-MA" sz="32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 توليف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18A26902-CB9B-E0A7-9630-544065E8BFF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18925" y="956399"/>
            <a:ext cx="432000" cy="43200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3433109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3EE643-8BBE-B603-815D-8E508B9EC9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363F5F5-01C0-0A4C-84E8-384D65BBC1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ar-MA" sz="2400" b="1" dirty="0">
                <a:solidFill>
                  <a:schemeClr val="bg1">
                    <a:lumMod val="50000"/>
                  </a:scheme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خدوا كراساتكم . سننجز أنشطة المراجعة و التوليف الواردة على  الصفحتين 56 و 57</a:t>
            </a:r>
            <a:endParaRPr lang="fr-FR" sz="24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376B67B5-B7F8-5860-055C-A1FF74E6818C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F5B4CBC4-54DC-3E08-0138-F4A9ABA712D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0CB6CB7D-9FD0-A403-6CAF-E3CE02E807D7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774D7200-9BDC-239F-19EE-501E862B1E67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25ACB8D-F39B-0AC0-6097-E23793A1E5A9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فتتاح الحصة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E5561B9-A365-0FAA-3D7E-C66499C365ED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E537F2B-F5E8-0DDC-0D5B-C9FE44683876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B8433FB-EB30-E5B8-FC43-4EE9BB6FDA3F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13" name="Espace réservé pour une image  12">
            <a:extLst>
              <a:ext uri="{FF2B5EF4-FFF2-40B4-BE49-F238E27FC236}">
                <a16:creationId xmlns:a16="http://schemas.microsoft.com/office/drawing/2014/main" id="{2563D113-E179-1E3D-00C3-365079C14BB4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29E7566A-427C-F270-9676-27CF7A18EEB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671627" y="1891693"/>
            <a:ext cx="5800746" cy="4471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2309523"/>
      </p:ext>
    </p:extLst>
  </p:cSld>
  <p:clrMapOvr>
    <a:masterClrMapping/>
  </p:clrMapOvr>
  <p:transition spd="slow"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61FB0D-A4FE-13BB-3265-08FF8BCF09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0B06F8D-9579-5117-BFC5-0BA05B2A3B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531" y="756000"/>
            <a:ext cx="7005842" cy="612000"/>
          </a:xfrm>
        </p:spPr>
        <p:txBody>
          <a:bodyPr>
            <a:noAutofit/>
          </a:bodyPr>
          <a:lstStyle/>
          <a:p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اِقرؤوا النص والفقرة </a:t>
            </a:r>
            <a:r>
              <a:rPr lang="ar-MA" sz="2400" b="1" dirty="0">
                <a:solidFill>
                  <a:schemeClr val="bg1">
                    <a:lumMod val="50000"/>
                  </a:scheme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 </a:t>
            </a: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قراءة صامتة ؛لتتمكنوا من الإجابة عن أسئلة. </a:t>
            </a:r>
          </a:p>
        </p:txBody>
      </p:sp>
      <p:pic>
        <p:nvPicPr>
          <p:cNvPr id="16" name="Espace réservé pour une image  12">
            <a:extLst>
              <a:ext uri="{FF2B5EF4-FFF2-40B4-BE49-F238E27FC236}">
                <a16:creationId xmlns:a16="http://schemas.microsoft.com/office/drawing/2014/main" id="{057E7524-1FAC-67D1-CF24-22DCFA80F07F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A3E5242A-BB2D-54B9-F94D-280E82A619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17959" y="1698579"/>
            <a:ext cx="6756702" cy="4837088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FC1CA6AD-3462-DC84-CF7B-B12AEBA93D6D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05703DA5-F684-A561-2693-1A04978CC17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D487A329-CBEF-8817-0146-92154DDE60DF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C113AD9A-9C8C-A209-7A34-9EAD39C79000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6D7E1D13-CF31-8441-FE98-428F3B7DFD37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فتتاح الحصة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EA71224-9CC6-112B-A262-835A33A8E502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C78D450-0EC6-3814-63E2-86726B827BFA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4BC581C-29C9-B3C1-A939-3BA759EAFFDD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قراءة الإثرائية</a:t>
            </a:r>
          </a:p>
        </p:txBody>
      </p:sp>
    </p:spTree>
    <p:extLst>
      <p:ext uri="{BB962C8B-B14F-4D97-AF65-F5344CB8AC3E}">
        <p14:creationId xmlns:p14="http://schemas.microsoft.com/office/powerpoint/2010/main" val="77833815"/>
      </p:ext>
    </p:extLst>
  </p:cSld>
  <p:clrMapOvr>
    <a:masterClrMapping/>
  </p:clrMapOvr>
  <p:transition spd="slow"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5BF0DB-E553-DCA4-A9F7-4C5165CD3B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id="{630A8E4B-8BED-D5A1-6357-B1CB618FFA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النشاط الأول:  اضبطوا كلمات الفقرة بالشكل التام.</a:t>
            </a:r>
            <a:b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</a:br>
            <a:r>
              <a:rPr kumimoji="0" lang="ar-MA" sz="2400" i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تكتب الفقرة على السبورة.</a:t>
            </a:r>
            <a:endParaRPr lang="fr-FR" sz="2400" i="1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3" name="Espace réservé pour une image  12">
            <a:extLst>
              <a:ext uri="{FF2B5EF4-FFF2-40B4-BE49-F238E27FC236}">
                <a16:creationId xmlns:a16="http://schemas.microsoft.com/office/drawing/2014/main" id="{EF3E40C8-560C-C692-D931-E4A151C56A03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0B558ACE-81FD-91DA-44CA-965439BDDD29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66A72A5D-B789-0A04-2C8F-B7A77F61939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BD68AA7E-02C2-E4DD-BB19-00B0243B801F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000E3E69-35EE-3E44-CC85-434F4BF16507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2059C48E-222A-B99C-424F-6FB2DD8854BD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فتتاح الحصة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A0DBEFC-F985-1B88-AFAE-92E0EFFEBA99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455B2B4-E95C-C608-D10D-858489611384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1653838-9AFF-6D6A-4E33-3BDF99EA7F63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F16C0F74-4490-5B22-C44C-9E05229FA66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733"/>
          <a:stretch>
            <a:fillRect/>
          </a:stretch>
        </p:blipFill>
        <p:spPr>
          <a:xfrm>
            <a:off x="569760" y="2491985"/>
            <a:ext cx="7844144" cy="2598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4037499"/>
      </p:ext>
    </p:extLst>
  </p:cSld>
  <p:clrMapOvr>
    <a:masterClrMapping/>
  </p:clrMapOvr>
  <p:transition spd="slow"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3C6CBB-5967-F0A7-3929-31EEEDC51A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id="{DDE7EE44-31B9-FBFA-0E8F-F1B7CF4703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سأمر بين الصفوف لمساعدتكم</a:t>
            </a:r>
            <a:endParaRPr lang="fr-FR" sz="24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5" name="Espace réservé pour une image  14">
            <a:extLst>
              <a:ext uri="{FF2B5EF4-FFF2-40B4-BE49-F238E27FC236}">
                <a16:creationId xmlns:a16="http://schemas.microsoft.com/office/drawing/2014/main" id="{9A451E50-BCEC-636C-28C3-65B24CD4BDE1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AC9C8765-B441-AB00-8F7C-5DB725FBBD87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66080357-E6D6-0220-3DD1-C3A06D05563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3E4912B2-ED04-AD3B-15F1-37AFD8C2490B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E86A46E0-B9AC-2871-FA38-3BCFB8CF7415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50E65D8D-53E6-9BDE-5C19-0B2AF81B9EC4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فتتاح الحصة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44E82E2-881C-F6CD-3E59-2C3FB13C965A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77F8AD3-3AEE-1129-175F-1E622F778E65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D2DB83F-0C6D-330D-2537-E8CA9F85C08E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45419170-C128-7266-DB94-F72452AC1F3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733"/>
          <a:stretch>
            <a:fillRect/>
          </a:stretch>
        </p:blipFill>
        <p:spPr>
          <a:xfrm>
            <a:off x="569760" y="2491985"/>
            <a:ext cx="7844144" cy="2598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3935086"/>
      </p:ext>
    </p:extLst>
  </p:cSld>
  <p:clrMapOvr>
    <a:masterClrMapping/>
  </p:clrMapOvr>
  <p:transition spd="slow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77D1D0-B935-CBE2-7CA4-9D5B14EAFB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>
            <a:extLst>
              <a:ext uri="{FF2B5EF4-FFF2-40B4-BE49-F238E27FC236}">
                <a16:creationId xmlns:a16="http://schemas.microsoft.com/office/drawing/2014/main" id="{315F985E-DD92-7278-4194-23AE56F6D3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6152" y="1573804"/>
            <a:ext cx="8211696" cy="4039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626731"/>
      </p:ext>
    </p:extLst>
  </p:cSld>
  <p:clrMapOvr>
    <a:masterClrMapping/>
  </p:clrMapOvr>
  <p:transition spd="slow"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E52A05-BAAA-06F2-A19C-6A81D71B6A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id="{35C8A5F3-C041-E219-2410-57F00BFF13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من يصحح .</a:t>
            </a:r>
          </a:p>
        </p:txBody>
      </p:sp>
      <p:pic>
        <p:nvPicPr>
          <p:cNvPr id="13" name="Espace réservé pour une image  17">
            <a:extLst>
              <a:ext uri="{FF2B5EF4-FFF2-40B4-BE49-F238E27FC236}">
                <a16:creationId xmlns:a16="http://schemas.microsoft.com/office/drawing/2014/main" id="{2AC7FF7B-26CD-936C-C9DB-12F96E67BF4E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1D5DF810-52DC-3A99-4467-E21AD6CA38FD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17D6B319-DBFE-7EEA-6F48-8950F537406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BE83C9A4-01D7-405F-9B30-1071E5175F0D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500D2B7F-D404-BECF-094E-1339A364D8E3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B2E3DF3D-6225-EC16-2B77-148844219F7D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فتتاح الحصة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4496723-978A-1029-F611-11BC3990CFAD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0ED7C35-857F-A682-681E-33AE4B45FCA2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45A195A-39A3-1B39-AB48-64DBE52A784C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88079A0A-74C8-BB44-9A9B-88DCC9AA215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733"/>
          <a:stretch>
            <a:fillRect/>
          </a:stretch>
        </p:blipFill>
        <p:spPr>
          <a:xfrm>
            <a:off x="569760" y="2491985"/>
            <a:ext cx="7844144" cy="2598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620152"/>
      </p:ext>
    </p:extLst>
  </p:cSld>
  <p:clrMapOvr>
    <a:masterClrMapping/>
  </p:clrMapOvr>
  <p:transition spd="slow"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E0EABB-45E2-77F7-58A6-93195F82BA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id="{A450D233-4A7B-4B80-38BB-B419BF919B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صححوا أخطاءكم.</a:t>
            </a:r>
          </a:p>
        </p:txBody>
      </p:sp>
      <p:pic>
        <p:nvPicPr>
          <p:cNvPr id="13" name="Espace réservé pour une image  14">
            <a:extLst>
              <a:ext uri="{FF2B5EF4-FFF2-40B4-BE49-F238E27FC236}">
                <a16:creationId xmlns:a16="http://schemas.microsoft.com/office/drawing/2014/main" id="{FF850F78-1CE6-413F-1318-60BE52876D25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6A882228-D787-34FF-FDF8-536FBD730872}"/>
              </a:ext>
            </a:extLst>
          </p:cNvPr>
          <p:cNvSpPr txBox="1"/>
          <p:nvPr/>
        </p:nvSpPr>
        <p:spPr>
          <a:xfrm>
            <a:off x="311645" y="1492210"/>
            <a:ext cx="8435860" cy="4900821"/>
          </a:xfrm>
          <a:prstGeom prst="roundRect">
            <a:avLst>
              <a:gd name="adj" fmla="val 6970"/>
            </a:avLst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>
            <a:spAutoFit/>
          </a:bodyPr>
          <a:lstStyle/>
          <a:p>
            <a:pPr marL="0" marR="0" lvl="0" indent="0" algn="just" defTabSz="914400" rtl="1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3800" b="1" i="0" u="none" strike="noStrike" kern="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لَقَدْ ظَلَّ ٱلْفَرْدُ مُحْتاجاً دائِماً لِغَيْرِهِ، فَعَلى سَبيلِ </a:t>
            </a:r>
            <a:r>
              <a:rPr kumimoji="0" lang="ar-MA" sz="4000" b="1" i="0" u="none" strike="noStrike" kern="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ﭐ</a:t>
            </a:r>
            <a:r>
              <a:rPr kumimoji="0" lang="ar-MA" sz="3800" b="1" i="0" u="none" strike="noStrike" kern="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لْمِثالِ لا يُمْكِنُ لِأَحَدِنا أَنْ يُصْبِحَ مُهَنْدِساً وَطَبيباً وَمُدَرِّساً وَنَجّاراً وَرَجُلَ إِطْفاءٍ لِوَحْدِهِ.  لَيْسَ </a:t>
            </a:r>
            <a:r>
              <a:rPr kumimoji="0" lang="ar-MA" sz="4000" b="1" i="0" u="none" strike="noStrike" kern="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ﭐ</a:t>
            </a:r>
            <a:r>
              <a:rPr kumimoji="0" lang="ar-MA" sz="3800" b="1" i="0" u="none" strike="noStrike" kern="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لْأَمْرُ غَريباً عَلى </a:t>
            </a:r>
            <a:r>
              <a:rPr kumimoji="0" lang="ar-MA" sz="4000" b="1" i="0" u="none" strike="noStrike" kern="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ﭐ</a:t>
            </a:r>
            <a:r>
              <a:rPr kumimoji="0" lang="ar-MA" sz="3800" b="1" i="0" u="none" strike="noStrike" kern="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لْعَقْلِ </a:t>
            </a:r>
            <a:r>
              <a:rPr kumimoji="0" lang="ar-MA" sz="4000" b="1" i="0" u="none" strike="noStrike" kern="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ﭐ</a:t>
            </a:r>
            <a:r>
              <a:rPr kumimoji="0" lang="ar-MA" sz="3800" b="1" i="0" u="none" strike="noStrike" kern="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لْبَشَرِيِّ، إِلاّ أَنَّهُ لا يَسْتَطيعُ أَنْ يَمْتَهِنَ هَذِهِ </a:t>
            </a:r>
            <a:r>
              <a:rPr kumimoji="0" lang="ar-MA" sz="3800" b="1" i="0" u="none" strike="noStrike" kern="0" cap="none" spc="0" normalizeH="0" baseline="0" noProof="0" dirty="0" err="1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ٱلْمِهَنَ</a:t>
            </a:r>
            <a:r>
              <a:rPr kumimoji="0" lang="ar-MA" sz="3800" b="1" i="0" u="none" strike="noStrike" kern="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جَميعَها، وَمِنْ هُنا صارَ لِزاماً عَلى </a:t>
            </a:r>
            <a:r>
              <a:rPr kumimoji="0" lang="ar-MA" sz="3800" b="1" i="0" u="none" strike="noStrike" kern="0" cap="none" spc="0" normalizeH="0" baseline="0" noProof="0" dirty="0" err="1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ٱلْإنْسانِ</a:t>
            </a:r>
            <a:r>
              <a:rPr kumimoji="0" lang="ar-MA" sz="3800" b="1" i="0" u="none" strike="noStrike" kern="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أَنْ يَكونَ قادِراً عَلى </a:t>
            </a:r>
            <a:r>
              <a:rPr kumimoji="0" lang="ar-MA" sz="4000" b="1" i="0" u="none" strike="noStrike" kern="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ﭐ</a:t>
            </a:r>
            <a:r>
              <a:rPr kumimoji="0" lang="ar-MA" sz="3800" b="1" i="0" u="none" strike="noStrike" kern="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لتَّفاعُلِ وَ</a:t>
            </a:r>
            <a:r>
              <a:rPr kumimoji="0" lang="ar-MA" sz="4000" b="1" i="0" u="none" strike="noStrike" kern="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ﭐ</a:t>
            </a:r>
            <a:r>
              <a:rPr kumimoji="0" lang="ar-MA" sz="3800" b="1" i="0" u="none" strike="noStrike" kern="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لتَّعاطي مَعَ </a:t>
            </a:r>
            <a:r>
              <a:rPr kumimoji="0" lang="ar-MA" sz="4000" b="1" i="0" u="none" strike="noStrike" kern="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ﭐ</a:t>
            </a:r>
            <a:r>
              <a:rPr kumimoji="0" lang="ar-MA" sz="3800" b="1" i="0" u="none" strike="noStrike" kern="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لْآخَرِ أَيّاً كانَتْ مُعْتَقَداتُهُ أَوْ أَفْكارُهُ أَوْ عِرْقُهُ.</a:t>
            </a:r>
            <a:endParaRPr kumimoji="0" lang="fr-FR" sz="3800" b="1" i="0" u="none" strike="noStrike" kern="0" cap="none" spc="0" normalizeH="0" baseline="0" noProof="0" dirty="0">
              <a:ln>
                <a:noFill/>
              </a:ln>
              <a:solidFill>
                <a:srgbClr val="424D7B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65AF144E-E11D-8A61-5ED6-B2C8C969458E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82B74A34-5345-FD5A-B556-169CD3AED2A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59BC73CA-B876-CE67-FB3D-CF17E53CFF7F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E7E14ADF-9D94-7928-5639-241349D1B7BD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AD3B2690-AB7D-9723-A418-78CC472FA852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فتتاح الحصة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6B33A62-75F8-B2D2-CCE5-0B9011AC7299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8FC2067-2AA9-392A-E46C-58CD844E245B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FB68A64-2F0D-D22F-DD1F-747A3E4AC790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قراءة الإثرائية</a:t>
            </a:r>
          </a:p>
        </p:txBody>
      </p:sp>
    </p:spTree>
    <p:extLst>
      <p:ext uri="{BB962C8B-B14F-4D97-AF65-F5344CB8AC3E}">
        <p14:creationId xmlns:p14="http://schemas.microsoft.com/office/powerpoint/2010/main" val="785118154"/>
      </p:ext>
    </p:extLst>
  </p:cSld>
  <p:clrMapOvr>
    <a:masterClrMapping/>
  </p:clrMapOvr>
  <p:transition spd="slow"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49775A-8D76-CF57-5955-1354FC8A90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id="{FC7CCDDB-56BD-FCAA-1706-99D3D8EC4C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الآن. ستجيبون عن أسئلة المعجم و الفهم.   لديكم 15 دقيقة للإ</a:t>
            </a:r>
            <a:r>
              <a:rPr lang="ar-MA" sz="2400" b="1" dirty="0">
                <a:solidFill>
                  <a:schemeClr val="bg1">
                    <a:lumMod val="50000"/>
                  </a:scheme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نجاز</a:t>
            </a: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.</a:t>
            </a:r>
          </a:p>
        </p:txBody>
      </p:sp>
      <p:pic>
        <p:nvPicPr>
          <p:cNvPr id="18" name="Espace réservé pour une image  14">
            <a:extLst>
              <a:ext uri="{FF2B5EF4-FFF2-40B4-BE49-F238E27FC236}">
                <a16:creationId xmlns:a16="http://schemas.microsoft.com/office/drawing/2014/main" id="{AE14DEB3-1753-95E5-063D-6884C940030D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F41ACAA6-261A-73FA-1D8C-ABC8312999F6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71E4417A-2537-0F32-A7DA-D83D723C2C7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110C18A9-B18F-CE10-31B7-87A3DF197EBA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8FDDD361-DBE8-A7BD-FE13-54934FD4C21F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DDFBC470-C21F-7AC7-00E1-A9514ED1F5BB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فتتاح الحصة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12D03A2-5AE9-8943-1343-58778E5E0EE5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8BAD486-E526-4D39-EC0C-6E093B8C52CA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0072CC9-1CA8-9272-8D06-162B034BA25B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26409A3D-47D0-5591-AC58-85CC6F6362D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671627" y="1891693"/>
            <a:ext cx="5800746" cy="4471322"/>
          </a:xfrm>
          <a:prstGeom prst="rect">
            <a:avLst/>
          </a:prstGeom>
        </p:spPr>
      </p:pic>
      <p:sp>
        <p:nvSpPr>
          <p:cNvPr id="25" name="Rectangle : coins arrondis 24">
            <a:extLst>
              <a:ext uri="{FF2B5EF4-FFF2-40B4-BE49-F238E27FC236}">
                <a16:creationId xmlns:a16="http://schemas.microsoft.com/office/drawing/2014/main" id="{43604A76-0C6A-7A89-584D-9CBF1944EBAC}"/>
              </a:ext>
            </a:extLst>
          </p:cNvPr>
          <p:cNvSpPr/>
          <p:nvPr/>
        </p:nvSpPr>
        <p:spPr>
          <a:xfrm>
            <a:off x="1703070" y="2377440"/>
            <a:ext cx="2868930" cy="1661160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26" name="Rectangle : coins arrondis 25">
            <a:extLst>
              <a:ext uri="{FF2B5EF4-FFF2-40B4-BE49-F238E27FC236}">
                <a16:creationId xmlns:a16="http://schemas.microsoft.com/office/drawing/2014/main" id="{B8ABE323-4164-7308-0A67-4729B5D1314E}"/>
              </a:ext>
            </a:extLst>
          </p:cNvPr>
          <p:cNvSpPr/>
          <p:nvPr/>
        </p:nvSpPr>
        <p:spPr>
          <a:xfrm>
            <a:off x="4572000" y="4127354"/>
            <a:ext cx="2900373" cy="1762906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3777264077"/>
      </p:ext>
    </p:extLst>
  </p:cSld>
  <p:clrMapOvr>
    <a:masterClrMapping/>
  </p:clrMapOvr>
  <p:transition spd="slow"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4B13E8-AB06-1F1C-1900-6C27637844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id="{6B69D39D-DF30-9E65-F48C-A89243449D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400" b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انتبهوا للسؤال الثاني في الفهم أضيفوا "فوائد" </a:t>
            </a:r>
          </a:p>
        </p:txBody>
      </p:sp>
      <p:pic>
        <p:nvPicPr>
          <p:cNvPr id="10" name="Espace réservé pour une image  17">
            <a:extLst>
              <a:ext uri="{FF2B5EF4-FFF2-40B4-BE49-F238E27FC236}">
                <a16:creationId xmlns:a16="http://schemas.microsoft.com/office/drawing/2014/main" id="{5206F6B2-A67D-1599-D26E-5457DCC98700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grpSp>
        <p:nvGrpSpPr>
          <p:cNvPr id="16" name="Groupe 15">
            <a:extLst>
              <a:ext uri="{FF2B5EF4-FFF2-40B4-BE49-F238E27FC236}">
                <a16:creationId xmlns:a16="http://schemas.microsoft.com/office/drawing/2014/main" id="{AD5FA4C5-6789-2125-C7B4-B5AF17D00A8C}"/>
              </a:ext>
            </a:extLst>
          </p:cNvPr>
          <p:cNvGrpSpPr/>
          <p:nvPr/>
        </p:nvGrpSpPr>
        <p:grpSpPr>
          <a:xfrm>
            <a:off x="864331" y="3136023"/>
            <a:ext cx="7674192" cy="1307279"/>
            <a:chOff x="864331" y="2430170"/>
            <a:chExt cx="7674192" cy="1307279"/>
          </a:xfrm>
        </p:grpSpPr>
        <p:pic>
          <p:nvPicPr>
            <p:cNvPr id="13" name="Image 12">
              <a:extLst>
                <a:ext uri="{FF2B5EF4-FFF2-40B4-BE49-F238E27FC236}">
                  <a16:creationId xmlns:a16="http://schemas.microsoft.com/office/drawing/2014/main" id="{F1046D59-00F6-0EEC-C942-F6590811BDA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5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864331" y="2538663"/>
              <a:ext cx="7674192" cy="1198786"/>
            </a:xfrm>
            <a:prstGeom prst="rect">
              <a:avLst/>
            </a:prstGeom>
          </p:spPr>
        </p:pic>
        <p:sp>
          <p:nvSpPr>
            <p:cNvPr id="15" name="ZoneTexte 14">
              <a:extLst>
                <a:ext uri="{FF2B5EF4-FFF2-40B4-BE49-F238E27FC236}">
                  <a16:creationId xmlns:a16="http://schemas.microsoft.com/office/drawing/2014/main" id="{5256C343-9915-3A18-4A57-F6B72101EDF4}"/>
                </a:ext>
              </a:extLst>
            </p:cNvPr>
            <p:cNvSpPr txBox="1"/>
            <p:nvPr/>
          </p:nvSpPr>
          <p:spPr>
            <a:xfrm>
              <a:off x="3193274" y="2430170"/>
              <a:ext cx="2056340" cy="70788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l" rtl="1"/>
              <a:r>
                <a:rPr lang="ar-MA" sz="4000" b="1" dirty="0">
                  <a:solidFill>
                    <a:srgbClr val="C00000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فَوائِدِ التَّعايُشِ.</a:t>
              </a:r>
              <a:endParaRPr lang="fr-MA" sz="4000" b="1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endParaRPr>
            </a:p>
          </p:txBody>
        </p:sp>
      </p:grpSp>
      <p:pic>
        <p:nvPicPr>
          <p:cNvPr id="2" name="Image 1">
            <a:extLst>
              <a:ext uri="{FF2B5EF4-FFF2-40B4-BE49-F238E27FC236}">
                <a16:creationId xmlns:a16="http://schemas.microsoft.com/office/drawing/2014/main" id="{AD017F82-A967-9568-262F-BB0A41DDBCC5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2EA2D168-774F-5AC2-4A75-2BB6F86E904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BF0F934D-17C1-FB68-76D5-84EDECF0A659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85F7B553-D503-B407-BAC5-BA04FF33DF96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34FDE1CE-1B4F-22B8-A9CF-E1E5B6986760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فتتاح الحصة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06C63F7-06C3-6F59-F608-821091B03A14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8000E0E-601A-93D6-DED7-18B897CD6CBD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904D5F6-A44A-93B8-D8B4-23C6CD4F3E1C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قراءة الإثرائية</a:t>
            </a:r>
          </a:p>
        </p:txBody>
      </p:sp>
    </p:spTree>
    <p:extLst>
      <p:ext uri="{BB962C8B-B14F-4D97-AF65-F5344CB8AC3E}">
        <p14:creationId xmlns:p14="http://schemas.microsoft.com/office/powerpoint/2010/main" val="2539282741"/>
      </p:ext>
    </p:extLst>
  </p:cSld>
  <p:clrMapOvr>
    <a:masterClrMapping/>
  </p:clrMapOvr>
  <p:transition spd="slow"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CBE186-7ADF-A240-C606-EDE5B35375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id="{EF491A1A-BCB0-4F28-EFFE-4B8793EBAE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معكم مهلة للتفكير. سأمر بين الصفوف لتقديم المساعدة.</a:t>
            </a:r>
          </a:p>
        </p:txBody>
      </p:sp>
      <p:pic>
        <p:nvPicPr>
          <p:cNvPr id="18" name="Espace réservé pour une image  14">
            <a:extLst>
              <a:ext uri="{FF2B5EF4-FFF2-40B4-BE49-F238E27FC236}">
                <a16:creationId xmlns:a16="http://schemas.microsoft.com/office/drawing/2014/main" id="{15B593F5-1286-1D4A-EC50-060D39263433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D160A07F-DDBB-B433-4F0F-8B8A3CB2F980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9CAB94B3-3404-DBE5-24EE-BF6B79C454E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68C8AF7F-8D35-06EB-10A2-59D80B350274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80B663EC-7129-87DF-A61F-3209999DA51A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4D2D2F66-4496-091A-F338-DA84340554B1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فتتاح الحصة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97E3802-D232-4907-A924-2BB4C7816F44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688E509-58D2-CF90-9AA9-D03534E1DFC9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5D6E83A-6A49-DAEE-0F35-D412EF9B2E75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A416D84E-E92E-E511-A55E-F8C49C81795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671627" y="1891693"/>
            <a:ext cx="5800746" cy="4471322"/>
          </a:xfrm>
          <a:prstGeom prst="rect">
            <a:avLst/>
          </a:prstGeom>
        </p:spPr>
      </p:pic>
      <p:sp>
        <p:nvSpPr>
          <p:cNvPr id="25" name="Rectangle : coins arrondis 24">
            <a:extLst>
              <a:ext uri="{FF2B5EF4-FFF2-40B4-BE49-F238E27FC236}">
                <a16:creationId xmlns:a16="http://schemas.microsoft.com/office/drawing/2014/main" id="{E13D7D49-D19D-87BB-40D2-2C916BF85B90}"/>
              </a:ext>
            </a:extLst>
          </p:cNvPr>
          <p:cNvSpPr/>
          <p:nvPr/>
        </p:nvSpPr>
        <p:spPr>
          <a:xfrm>
            <a:off x="1703070" y="2377440"/>
            <a:ext cx="2868930" cy="1661160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26" name="Rectangle : coins arrondis 25">
            <a:extLst>
              <a:ext uri="{FF2B5EF4-FFF2-40B4-BE49-F238E27FC236}">
                <a16:creationId xmlns:a16="http://schemas.microsoft.com/office/drawing/2014/main" id="{E0B532C5-D4B4-DBA3-630E-081998E04D20}"/>
              </a:ext>
            </a:extLst>
          </p:cNvPr>
          <p:cNvSpPr/>
          <p:nvPr/>
        </p:nvSpPr>
        <p:spPr>
          <a:xfrm>
            <a:off x="4572000" y="4127354"/>
            <a:ext cx="2900373" cy="1762906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1534606943"/>
      </p:ext>
    </p:extLst>
  </p:cSld>
  <p:clrMapOvr>
    <a:masterClrMapping/>
  </p:clrMapOvr>
  <p:transition spd="slow"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E4A33F-D367-026D-8C83-C0D48B594F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id="{A91A9B51-CE66-68C4-FDC4-391A3B5813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400" b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نصحح الان. من يجيب عن أسئلة المعجم؟</a:t>
            </a:r>
          </a:p>
        </p:txBody>
      </p:sp>
      <p:pic>
        <p:nvPicPr>
          <p:cNvPr id="10" name="Espace réservé pour une image  17">
            <a:extLst>
              <a:ext uri="{FF2B5EF4-FFF2-40B4-BE49-F238E27FC236}">
                <a16:creationId xmlns:a16="http://schemas.microsoft.com/office/drawing/2014/main" id="{D6701E06-BB57-133C-2F07-F781377803B6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FE871705-B09D-EB7E-DEA4-CFD2BA242AF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75995" y="1914904"/>
            <a:ext cx="7992010" cy="4460710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5114576F-1C9C-AA80-2274-7D5A9F0461CD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71401A70-5BE3-034F-CF7A-5FE4F62851F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7D033212-EA26-3330-9E59-3DD171E80C8B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5E051D7F-942F-DFE8-6C33-DC8826EDBD32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23EAC89D-26F7-FB77-1669-7E22978CC705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فتتاح الحصة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A30FE19-87C0-4B1A-1262-82B75E5A7CAD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34446CA-ADFB-5C5C-0268-F029CB8687BF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7D975B1-3384-4A4B-B407-12F12A9BDCFD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قراءة الإثرائية</a:t>
            </a:r>
          </a:p>
        </p:txBody>
      </p:sp>
    </p:spTree>
    <p:extLst>
      <p:ext uri="{BB962C8B-B14F-4D97-AF65-F5344CB8AC3E}">
        <p14:creationId xmlns:p14="http://schemas.microsoft.com/office/powerpoint/2010/main" val="3523552760"/>
      </p:ext>
    </p:extLst>
  </p:cSld>
  <p:clrMapOvr>
    <a:masterClrMapping/>
  </p:clrMapOvr>
  <p:transition spd="slow"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25C820-1900-5D73-F8FE-ABAD6A73A1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id="{11A50176-7B80-B1F0-D5CC-92FF9F79A6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400" b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صححوا.</a:t>
            </a:r>
          </a:p>
        </p:txBody>
      </p:sp>
      <p:pic>
        <p:nvPicPr>
          <p:cNvPr id="10" name="Espace réservé pour une image  17">
            <a:extLst>
              <a:ext uri="{FF2B5EF4-FFF2-40B4-BE49-F238E27FC236}">
                <a16:creationId xmlns:a16="http://schemas.microsoft.com/office/drawing/2014/main" id="{99506FC7-83C3-A715-0FD2-DFEA474A0ABE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sp>
        <p:nvSpPr>
          <p:cNvPr id="19" name="Rectangle : coins arrondis 18">
            <a:extLst>
              <a:ext uri="{FF2B5EF4-FFF2-40B4-BE49-F238E27FC236}">
                <a16:creationId xmlns:a16="http://schemas.microsoft.com/office/drawing/2014/main" id="{BBC4EBEF-AAF0-B264-5A43-FA44FF186907}"/>
              </a:ext>
            </a:extLst>
          </p:cNvPr>
          <p:cNvSpPr/>
          <p:nvPr/>
        </p:nvSpPr>
        <p:spPr>
          <a:xfrm>
            <a:off x="3582000" y="1925518"/>
            <a:ext cx="1980000" cy="720000"/>
          </a:xfrm>
          <a:prstGeom prst="roundRect">
            <a:avLst/>
          </a:prstGeom>
          <a:solidFill>
            <a:srgbClr val="F0F9F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فِعْلٌ</a:t>
            </a:r>
            <a:endParaRPr kumimoji="0" lang="fr-FR" sz="44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21" name="Rectangle : coins arrondis 20">
            <a:extLst>
              <a:ext uri="{FF2B5EF4-FFF2-40B4-BE49-F238E27FC236}">
                <a16:creationId xmlns:a16="http://schemas.microsoft.com/office/drawing/2014/main" id="{5F2FADF2-20E2-29B5-406D-1F1A64D954DA}"/>
              </a:ext>
            </a:extLst>
          </p:cNvPr>
          <p:cNvSpPr/>
          <p:nvPr/>
        </p:nvSpPr>
        <p:spPr>
          <a:xfrm>
            <a:off x="3581021" y="3539698"/>
            <a:ext cx="1981958" cy="720000"/>
          </a:xfrm>
          <a:prstGeom prst="roundRect">
            <a:avLst/>
          </a:prstGeom>
          <a:solidFill>
            <a:srgbClr val="424D7B"/>
          </a:solidFill>
          <a:ln w="12700" cap="flat" cmpd="sng" algn="ctr">
            <a:solidFill>
              <a:srgbClr val="7030A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تُثْري</a:t>
            </a:r>
            <a:endParaRPr kumimoji="0" lang="fr-MA" sz="44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22" name="Rectangle : coins arrondis 21">
            <a:extLst>
              <a:ext uri="{FF2B5EF4-FFF2-40B4-BE49-F238E27FC236}">
                <a16:creationId xmlns:a16="http://schemas.microsoft.com/office/drawing/2014/main" id="{FB2D732C-0D32-6874-A312-035DB8DF55DA}"/>
              </a:ext>
            </a:extLst>
          </p:cNvPr>
          <p:cNvSpPr/>
          <p:nvPr/>
        </p:nvSpPr>
        <p:spPr>
          <a:xfrm>
            <a:off x="6681484" y="3539698"/>
            <a:ext cx="1980000" cy="720000"/>
          </a:xfrm>
          <a:prstGeom prst="roundRect">
            <a:avLst/>
          </a:prstGeom>
          <a:solidFill>
            <a:srgbClr val="F0F9F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تُغْني</a:t>
            </a:r>
            <a:endParaRPr kumimoji="0" lang="fr-FR" sz="44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23" name="Rectangle : coins arrondis 22">
            <a:extLst>
              <a:ext uri="{FF2B5EF4-FFF2-40B4-BE49-F238E27FC236}">
                <a16:creationId xmlns:a16="http://schemas.microsoft.com/office/drawing/2014/main" id="{4E0E8416-BAE7-7D48-DCA8-8A1737AA0CA9}"/>
              </a:ext>
            </a:extLst>
          </p:cNvPr>
          <p:cNvSpPr/>
          <p:nvPr/>
        </p:nvSpPr>
        <p:spPr>
          <a:xfrm>
            <a:off x="482516" y="3539698"/>
            <a:ext cx="1980000" cy="720000"/>
          </a:xfrm>
          <a:prstGeom prst="roundRect">
            <a:avLst/>
          </a:prstGeom>
          <a:solidFill>
            <a:srgbClr val="F0F9F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تُفْقِرُ</a:t>
            </a:r>
            <a:endParaRPr kumimoji="0" lang="fr-FR" sz="44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25" name="Rectangle : coins arrondis 24">
            <a:extLst>
              <a:ext uri="{FF2B5EF4-FFF2-40B4-BE49-F238E27FC236}">
                <a16:creationId xmlns:a16="http://schemas.microsoft.com/office/drawing/2014/main" id="{43389EB6-6EF4-D8BA-1971-1A026A839AB1}"/>
              </a:ext>
            </a:extLst>
          </p:cNvPr>
          <p:cNvSpPr/>
          <p:nvPr/>
        </p:nvSpPr>
        <p:spPr>
          <a:xfrm>
            <a:off x="466366" y="5153878"/>
            <a:ext cx="8195118" cy="720000"/>
          </a:xfrm>
          <a:prstGeom prst="roundRect">
            <a:avLst/>
          </a:prstGeom>
          <a:solidFill>
            <a:srgbClr val="F0F9F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400" b="1" i="0" u="none" strike="noStrike" kern="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 </a:t>
            </a:r>
            <a:r>
              <a:rPr lang="ar-MA" sz="4400" b="1" kern="0" dirty="0">
                <a:solidFill>
                  <a:srgbClr val="424D7C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تُ</a:t>
            </a:r>
            <a:r>
              <a:rPr kumimoji="0" lang="ar-MA" sz="4400" b="1" i="0" u="none" strike="noStrike" kern="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ثْري اَلْمَدْرَسَةُ  </a:t>
            </a:r>
            <a:r>
              <a:rPr kumimoji="0" lang="ar-MA" sz="4400" b="1" i="0" u="none" strike="noStrike" kern="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ﭐ</a:t>
            </a:r>
            <a:r>
              <a:rPr kumimoji="0" lang="ar-MA" sz="4400" b="1" i="0" u="none" strike="noStrike" kern="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لْمُتَعَلِّمَ بِـ</a:t>
            </a:r>
            <a:r>
              <a:rPr kumimoji="0" lang="ar-MA" sz="4400" b="1" i="0" u="none" strike="noStrike" kern="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ﭐ</a:t>
            </a:r>
            <a:r>
              <a:rPr kumimoji="0" lang="ar-MA" sz="4400" b="1" i="0" u="none" strike="noStrike" kern="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لْمَعارِفِ وَ </a:t>
            </a:r>
            <a:r>
              <a:rPr kumimoji="0" lang="ar-MA" sz="4400" b="1" i="0" u="none" strike="noStrike" kern="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ﭐ</a:t>
            </a:r>
            <a:r>
              <a:rPr kumimoji="0" lang="ar-MA" sz="4400" b="1" i="0" u="none" strike="noStrike" kern="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لتَّجارِبِ و </a:t>
            </a:r>
            <a:r>
              <a:rPr kumimoji="0" lang="ar-MA" sz="4400" b="1" i="0" u="none" strike="noStrike" kern="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ﭐ</a:t>
            </a:r>
            <a:r>
              <a:rPr kumimoji="0" lang="ar-MA" sz="4400" b="1" i="0" u="none" strike="noStrike" kern="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لْخِبْراتِ.</a:t>
            </a:r>
            <a:endParaRPr kumimoji="0" lang="fr-FR" sz="4400" b="1" i="0" u="none" strike="noStrike" kern="0" cap="none" spc="0" normalizeH="0" baseline="0" noProof="0" dirty="0">
              <a:ln>
                <a:noFill/>
              </a:ln>
              <a:solidFill>
                <a:srgbClr val="424D7C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3B518A9D-1C97-A98C-2F86-1386D4AB14CB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DBE80295-C733-F5F3-7D3E-462AB2D07E2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4A41ACC8-0D65-5D69-CC71-C8C79721148B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BD637255-2DC2-5401-DF9E-A514AE80DD6D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1B7D33C9-AC8A-3233-FC34-8DCC83543532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فتتاح الحصة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6E56D05-E079-5E4F-D98F-310BC22144C7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FE6F047D-C270-E827-DC4E-1D7B61A8C491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A7F1448-FB13-7D00-1460-925188614414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قراءة الإثرائية</a:t>
            </a:r>
          </a:p>
        </p:txBody>
      </p:sp>
      <p:cxnSp>
        <p:nvCxnSpPr>
          <p:cNvPr id="4" name="Connecteur droit avec flèche 3">
            <a:extLst>
              <a:ext uri="{FF2B5EF4-FFF2-40B4-BE49-F238E27FC236}">
                <a16:creationId xmlns:a16="http://schemas.microsoft.com/office/drawing/2014/main" id="{B551A4A0-716A-0F4E-DA6E-465025C8F5A0}"/>
              </a:ext>
            </a:extLst>
          </p:cNvPr>
          <p:cNvCxnSpPr>
            <a:stCxn id="21" idx="0"/>
            <a:endCxn id="19" idx="2"/>
          </p:cNvCxnSpPr>
          <p:nvPr/>
        </p:nvCxnSpPr>
        <p:spPr>
          <a:xfrm flipV="1">
            <a:off x="4572000" y="2645518"/>
            <a:ext cx="0" cy="900000"/>
          </a:xfrm>
          <a:prstGeom prst="straightConnector1">
            <a:avLst/>
          </a:prstGeom>
          <a:ln w="38100">
            <a:solidFill>
              <a:srgbClr val="424D7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AD2E6C2B-2C8D-EC53-1DF4-E34DCCB07D8D}"/>
              </a:ext>
            </a:extLst>
          </p:cNvPr>
          <p:cNvCxnSpPr>
            <a:cxnSpLocks/>
            <a:stCxn id="21" idx="2"/>
            <a:endCxn id="25" idx="0"/>
          </p:cNvCxnSpPr>
          <p:nvPr/>
        </p:nvCxnSpPr>
        <p:spPr>
          <a:xfrm flipH="1">
            <a:off x="4563925" y="4259698"/>
            <a:ext cx="8075" cy="894180"/>
          </a:xfrm>
          <a:prstGeom prst="straightConnector1">
            <a:avLst/>
          </a:prstGeom>
          <a:ln w="38100">
            <a:solidFill>
              <a:srgbClr val="424D7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eur droit avec flèche 28">
            <a:extLst>
              <a:ext uri="{FF2B5EF4-FFF2-40B4-BE49-F238E27FC236}">
                <a16:creationId xmlns:a16="http://schemas.microsoft.com/office/drawing/2014/main" id="{52D87C71-2F1D-6B8A-6A74-3357720501E3}"/>
              </a:ext>
            </a:extLst>
          </p:cNvPr>
          <p:cNvCxnSpPr>
            <a:cxnSpLocks/>
            <a:stCxn id="21" idx="1"/>
            <a:endCxn id="23" idx="3"/>
          </p:cNvCxnSpPr>
          <p:nvPr/>
        </p:nvCxnSpPr>
        <p:spPr>
          <a:xfrm flipH="1">
            <a:off x="2462516" y="3899698"/>
            <a:ext cx="1118505" cy="0"/>
          </a:xfrm>
          <a:prstGeom prst="straightConnector1">
            <a:avLst/>
          </a:prstGeom>
          <a:ln w="38100">
            <a:solidFill>
              <a:srgbClr val="424D7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avec flèche 29">
            <a:extLst>
              <a:ext uri="{FF2B5EF4-FFF2-40B4-BE49-F238E27FC236}">
                <a16:creationId xmlns:a16="http://schemas.microsoft.com/office/drawing/2014/main" id="{94E33C2A-FBB5-F8A0-DA2F-96044B9FCF06}"/>
              </a:ext>
            </a:extLst>
          </p:cNvPr>
          <p:cNvCxnSpPr>
            <a:cxnSpLocks/>
            <a:stCxn id="21" idx="3"/>
            <a:endCxn id="22" idx="1"/>
          </p:cNvCxnSpPr>
          <p:nvPr/>
        </p:nvCxnSpPr>
        <p:spPr>
          <a:xfrm>
            <a:off x="5562979" y="3899698"/>
            <a:ext cx="1118505" cy="0"/>
          </a:xfrm>
          <a:prstGeom prst="straightConnector1">
            <a:avLst/>
          </a:prstGeom>
          <a:ln w="38100">
            <a:solidFill>
              <a:srgbClr val="424D7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151450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6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2" grpId="0" animBg="1"/>
      <p:bldP spid="23" grpId="0" animBg="1"/>
      <p:bldP spid="25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9DFB9F-FFF5-8F5B-CE6C-51161E7A06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id="{A13588D0-DC1B-6E16-D671-6BF92E9646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400" b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صححوا</a:t>
            </a:r>
          </a:p>
        </p:txBody>
      </p:sp>
      <p:pic>
        <p:nvPicPr>
          <p:cNvPr id="10" name="Espace réservé pour une image  14">
            <a:extLst>
              <a:ext uri="{FF2B5EF4-FFF2-40B4-BE49-F238E27FC236}">
                <a16:creationId xmlns:a16="http://schemas.microsoft.com/office/drawing/2014/main" id="{DF5D3553-7FCB-004B-610F-2B1370A0C11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4A2CC520-882B-E8C1-B40C-AFCCBE81AF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32373" y="2791041"/>
            <a:ext cx="8030081" cy="2019956"/>
          </a:xfrm>
          <a:prstGeom prst="rect">
            <a:avLst/>
          </a:prstGeom>
        </p:spPr>
      </p:pic>
      <p:sp>
        <p:nvSpPr>
          <p:cNvPr id="15" name="Rectangle : coins arrondis 14">
            <a:extLst>
              <a:ext uri="{FF2B5EF4-FFF2-40B4-BE49-F238E27FC236}">
                <a16:creationId xmlns:a16="http://schemas.microsoft.com/office/drawing/2014/main" id="{3322C796-95F0-A8A0-5FDD-E37193B3E3ED}"/>
              </a:ext>
            </a:extLst>
          </p:cNvPr>
          <p:cNvSpPr/>
          <p:nvPr/>
        </p:nvSpPr>
        <p:spPr>
          <a:xfrm>
            <a:off x="5486400" y="3378798"/>
            <a:ext cx="2276460" cy="698052"/>
          </a:xfrm>
          <a:prstGeom prst="round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8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لِزاماً</a:t>
            </a:r>
            <a:endParaRPr kumimoji="0" lang="fr-FR" sz="48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16" name="Rectangle : coins arrondis 15">
            <a:extLst>
              <a:ext uri="{FF2B5EF4-FFF2-40B4-BE49-F238E27FC236}">
                <a16:creationId xmlns:a16="http://schemas.microsoft.com/office/drawing/2014/main" id="{6E7DE9DE-BDC2-9260-494D-C4ED943B4C05}"/>
              </a:ext>
            </a:extLst>
          </p:cNvPr>
          <p:cNvSpPr/>
          <p:nvPr/>
        </p:nvSpPr>
        <p:spPr>
          <a:xfrm>
            <a:off x="5445125" y="4038900"/>
            <a:ext cx="2559050" cy="698052"/>
          </a:xfrm>
          <a:prstGeom prst="round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8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قادِراً</a:t>
            </a:r>
            <a:endParaRPr kumimoji="0" lang="fr-FR" sz="48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22" name="Rectangle : coins arrondis 21">
            <a:extLst>
              <a:ext uri="{FF2B5EF4-FFF2-40B4-BE49-F238E27FC236}">
                <a16:creationId xmlns:a16="http://schemas.microsoft.com/office/drawing/2014/main" id="{49ED30CC-3666-ACD5-D7DE-928B1C701D01}"/>
              </a:ext>
            </a:extLst>
          </p:cNvPr>
          <p:cNvSpPr/>
          <p:nvPr/>
        </p:nvSpPr>
        <p:spPr>
          <a:xfrm>
            <a:off x="1114426" y="4038900"/>
            <a:ext cx="2178050" cy="698052"/>
          </a:xfrm>
          <a:prstGeom prst="round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8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يَشْهَدُ</a:t>
            </a:r>
            <a:endParaRPr kumimoji="0" lang="fr-FR" sz="48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23" name="Rectangle : coins arrondis 22">
            <a:extLst>
              <a:ext uri="{FF2B5EF4-FFF2-40B4-BE49-F238E27FC236}">
                <a16:creationId xmlns:a16="http://schemas.microsoft.com/office/drawing/2014/main" id="{B1ED6161-CEA2-5647-CE4E-0A22DACB6F2A}"/>
              </a:ext>
            </a:extLst>
          </p:cNvPr>
          <p:cNvSpPr/>
          <p:nvPr/>
        </p:nvSpPr>
        <p:spPr>
          <a:xfrm>
            <a:off x="1082675" y="3369423"/>
            <a:ext cx="1993899" cy="698052"/>
          </a:xfrm>
          <a:prstGeom prst="round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8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َلتَّعاضُدُ</a:t>
            </a:r>
            <a:endParaRPr kumimoji="0" lang="fr-FR" sz="48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DF7B7B21-577A-D8E4-FB2A-336F43F047D8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4636F548-5B4A-9BD6-0AA2-E01337D98B9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E7746CBB-0F4E-D7FF-FD7E-A72E03A27442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AAFFFC77-484D-688B-8F04-1E070D91275D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23E71E9F-EB4D-694C-94D1-65DDDC27BE2D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فتتاح الحصة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5E3752F-A545-5C06-8E78-3695BFCCD372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E49868B-5A0C-7377-B895-C5615B0D03C6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E9AF98F-0D3F-FAA1-CDC0-163C038A84CC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قراءة الإثرائية</a:t>
            </a:r>
          </a:p>
        </p:txBody>
      </p:sp>
    </p:spTree>
    <p:extLst>
      <p:ext uri="{BB962C8B-B14F-4D97-AF65-F5344CB8AC3E}">
        <p14:creationId xmlns:p14="http://schemas.microsoft.com/office/powerpoint/2010/main" val="99078742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3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" dur="1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3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0" dur="1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3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3" dur="1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3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6" dur="1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  <p:bldP spid="22" grpId="0" animBg="1"/>
      <p:bldP spid="23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184E81-CAE0-EBDF-B10F-D81A3BE32E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id="{15370B1C-32F3-2303-E352-5A3F400AA8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547" y="756000"/>
            <a:ext cx="7061826" cy="612000"/>
          </a:xfrm>
        </p:spPr>
        <p:txBody>
          <a:bodyPr>
            <a:no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400" b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نواصل التصحيح  من يقرأ جوابه عن السؤال 3</a:t>
            </a:r>
          </a:p>
        </p:txBody>
      </p:sp>
      <p:pic>
        <p:nvPicPr>
          <p:cNvPr id="10" name="Espace réservé pour une image  14">
            <a:extLst>
              <a:ext uri="{FF2B5EF4-FFF2-40B4-BE49-F238E27FC236}">
                <a16:creationId xmlns:a16="http://schemas.microsoft.com/office/drawing/2014/main" id="{443CA6DE-28E0-A023-3C5E-5CA69EEC106D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8CF31697-D61B-940A-9419-4C9B203CBA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rcRect b="69310"/>
          <a:stretch>
            <a:fillRect/>
          </a:stretch>
        </p:blipFill>
        <p:spPr>
          <a:xfrm>
            <a:off x="864331" y="2855962"/>
            <a:ext cx="7643002" cy="2261470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B8A5CE81-B78E-C002-5A52-20D23F7886BD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E1E769F4-01CC-43BE-DBB8-CE4E715A6B2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C470A5EC-5B18-195F-EC82-560474116150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3EA82296-1C80-C9F9-FDE0-7682F6DFF13B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970FC65E-6015-F665-7C20-F76AA5AC55DE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فتتاح الحصة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CF1C4A5-5EBD-350B-F054-7B1EE2327352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9CE8F23-1FAF-C00F-7BAE-DD5A4C034755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50E110E-64D5-C931-D33B-9A8CCD338727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قراءة الإثرائية</a:t>
            </a:r>
          </a:p>
        </p:txBody>
      </p:sp>
    </p:spTree>
    <p:extLst>
      <p:ext uri="{BB962C8B-B14F-4D97-AF65-F5344CB8AC3E}">
        <p14:creationId xmlns:p14="http://schemas.microsoft.com/office/powerpoint/2010/main" val="2342871076"/>
      </p:ext>
    </p:extLst>
  </p:cSld>
  <p:clrMapOvr>
    <a:masterClrMapping/>
  </p:clrMapOvr>
  <p:transition spd="slow"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0BBD3D-51EF-A4C6-5359-B9D52E21D8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id="{F90E153D-1FB6-98BE-EC5F-BA4B7C68E4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547" y="756000"/>
            <a:ext cx="7061826" cy="612000"/>
          </a:xfrm>
        </p:spPr>
        <p:txBody>
          <a:bodyPr>
            <a:no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400" b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صححوا.</a:t>
            </a:r>
          </a:p>
        </p:txBody>
      </p:sp>
      <p:pic>
        <p:nvPicPr>
          <p:cNvPr id="10" name="Espace réservé pour une image  14">
            <a:extLst>
              <a:ext uri="{FF2B5EF4-FFF2-40B4-BE49-F238E27FC236}">
                <a16:creationId xmlns:a16="http://schemas.microsoft.com/office/drawing/2014/main" id="{AB010F55-EC24-40D7-57BA-4D1F94E48D5F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90B99273-8C8E-71B8-AA6B-39C76214DDA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rcRect b="68548"/>
          <a:stretch>
            <a:fillRect/>
          </a:stretch>
        </p:blipFill>
        <p:spPr>
          <a:xfrm>
            <a:off x="864331" y="2855962"/>
            <a:ext cx="7643002" cy="2317617"/>
          </a:xfrm>
          <a:prstGeom prst="rect">
            <a:avLst/>
          </a:prstGeom>
        </p:spPr>
      </p:pic>
      <p:sp>
        <p:nvSpPr>
          <p:cNvPr id="13" name="ZoneTexte 12">
            <a:extLst>
              <a:ext uri="{FF2B5EF4-FFF2-40B4-BE49-F238E27FC236}">
                <a16:creationId xmlns:a16="http://schemas.microsoft.com/office/drawing/2014/main" id="{A175E230-12C4-AD1F-F66F-F55FDF098244}"/>
              </a:ext>
            </a:extLst>
          </p:cNvPr>
          <p:cNvSpPr txBox="1"/>
          <p:nvPr/>
        </p:nvSpPr>
        <p:spPr>
          <a:xfrm>
            <a:off x="386001" y="3570566"/>
            <a:ext cx="7233516" cy="70788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4000" b="1" kern="0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لِماذا لا يَسْتَطيعُ ٱلْإنْسانُ </a:t>
            </a:r>
            <a:r>
              <a:rPr lang="ar-MA" sz="4000" b="1" kern="0" dirty="0" err="1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ﭐلْعَيْشَ</a:t>
            </a:r>
            <a:r>
              <a:rPr lang="ar-MA" sz="4000" b="1" kern="0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 لِوَحْدِهِ مَهْما حاوَلَ ذَلِكَ؟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7C205B7D-1075-2D70-4CFC-F0665120292A}"/>
              </a:ext>
            </a:extLst>
          </p:cNvPr>
          <p:cNvSpPr txBox="1"/>
          <p:nvPr/>
        </p:nvSpPr>
        <p:spPr>
          <a:xfrm>
            <a:off x="386001" y="4278452"/>
            <a:ext cx="6671696" cy="70788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r" rtl="1"/>
            <a:r>
              <a:rPr lang="ar-MA" sz="4000" b="1" kern="0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اَلْبَحْثُ عَنِ ﭐلسَّبَبِ.</a:t>
            </a:r>
            <a:endParaRPr lang="fr-MA" sz="4000" b="1" kern="0" dirty="0">
              <a:solidFill>
                <a:srgbClr val="C00000"/>
              </a:solidFill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E3CCD958-BC7D-2E4E-5472-8E2E8C280A26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1CD14538-4AAE-CD9D-950D-7202D782184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4887A703-9E67-2FDE-196E-1494D9AD327F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2A2DAA9B-DD4E-0381-842A-35C1916F93C0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749BECB1-6FE2-C6C5-6C45-1DF2C04B859C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فتتاح الحصة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C6C6A3B-9945-2FD8-FB2D-2B15BB443933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5B6F698-B295-0427-6FAD-3B3E8C756229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9625F98-2BAF-F1C0-781A-F6134BA53A7C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قراءة الإثرائية</a:t>
            </a:r>
          </a:p>
        </p:txBody>
      </p:sp>
    </p:spTree>
    <p:extLst>
      <p:ext uri="{BB962C8B-B14F-4D97-AF65-F5344CB8AC3E}">
        <p14:creationId xmlns:p14="http://schemas.microsoft.com/office/powerpoint/2010/main" val="4282272082"/>
      </p:ext>
    </p:extLst>
  </p:cSld>
  <p:clrMapOvr>
    <a:masterClrMapping/>
  </p:clrMapOvr>
  <p:transition spd="slow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Espace réservé pour une image  30" descr="Une image contenant habits, sourire, dessin humoristique, clipart&#10;&#10;Le contenu généré par l’IA peut être incorrect.">
            <a:extLst>
              <a:ext uri="{FF2B5EF4-FFF2-40B4-BE49-F238E27FC236}">
                <a16:creationId xmlns:a16="http://schemas.microsoft.com/office/drawing/2014/main" id="{273DC75A-2015-19E1-1E39-E1663D38576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rcRect/>
          <a:stretch>
            <a:fillRect/>
          </a:stretch>
        </p:blipFill>
        <p:spPr/>
      </p:pic>
      <p:pic>
        <p:nvPicPr>
          <p:cNvPr id="29" name="Espace réservé pour une image  28" descr="Une image contenant dessin humoristique, clipart, illustration, Dessin animé&#10;&#10;Le contenu généré par l’IA peut être incorrect.">
            <a:extLst>
              <a:ext uri="{FF2B5EF4-FFF2-40B4-BE49-F238E27FC236}">
                <a16:creationId xmlns:a16="http://schemas.microsoft.com/office/drawing/2014/main" id="{4CEF1EEB-1F40-EA99-607B-F22A6821DCF8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/>
          <a:srcRect/>
          <a:stretch>
            <a:fillRect/>
          </a:stretch>
        </p:blipFill>
        <p:spPr/>
      </p:pic>
      <p:pic>
        <p:nvPicPr>
          <p:cNvPr id="35" name="Espace réservé pour une image  34" descr="Une image contenant habits, Animation, Dessin animé, dessin humoristique&#10;&#10;Le contenu généré par l’IA peut être incorrect.">
            <a:extLst>
              <a:ext uri="{FF2B5EF4-FFF2-40B4-BE49-F238E27FC236}">
                <a16:creationId xmlns:a16="http://schemas.microsoft.com/office/drawing/2014/main" id="{FF93AB83-9CA3-5F80-6D06-9BC5A29C6ED3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4"/>
          <a:srcRect/>
          <a:stretch>
            <a:fillRect/>
          </a:stretch>
        </p:blipFill>
        <p:spPr/>
      </p:pic>
      <p:pic>
        <p:nvPicPr>
          <p:cNvPr id="33" name="Espace réservé pour une image  32" descr="Une image contenant dessin humoristique, Dessin animé, Animation, clipart&#10;&#10;Le contenu généré par l’IA peut être incorrect.">
            <a:extLst>
              <a:ext uri="{FF2B5EF4-FFF2-40B4-BE49-F238E27FC236}">
                <a16:creationId xmlns:a16="http://schemas.microsoft.com/office/drawing/2014/main" id="{48E3DEC7-EDF8-3A04-93CB-4981563836CA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5"/>
          <a:srcRect/>
          <a:stretch>
            <a:fillRect/>
          </a:stretch>
        </p:blipFill>
        <p:spPr/>
      </p:pic>
      <p:pic>
        <p:nvPicPr>
          <p:cNvPr id="14" name="Espace réservé pour une image  13" descr="Une image contenant capture d’écran, Graphique, Bleu électrique, conception&#10;&#10;Le contenu généré par l’IA peut être incorrect.">
            <a:extLst>
              <a:ext uri="{FF2B5EF4-FFF2-40B4-BE49-F238E27FC236}">
                <a16:creationId xmlns:a16="http://schemas.microsoft.com/office/drawing/2014/main" id="{6A61E3F4-6777-A2C5-4DDB-664D3F42A617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6"/>
          <a:srcRect/>
          <a:stretch/>
        </p:blipFill>
        <p:spPr/>
      </p:pic>
      <p:sp>
        <p:nvSpPr>
          <p:cNvPr id="21" name="Espace réservé pour une image  20">
            <a:extLst>
              <a:ext uri="{FF2B5EF4-FFF2-40B4-BE49-F238E27FC236}">
                <a16:creationId xmlns:a16="http://schemas.microsoft.com/office/drawing/2014/main" id="{A2246453-977E-1804-FB4B-6EF5DA943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fr-MA"/>
          </a:p>
        </p:txBody>
      </p:sp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id="{9B930BFD-D933-1735-B8A7-CC562C90B09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prstGeom prst="roundRect">
            <a:avLst/>
          </a:prstGeom>
        </p:spPr>
        <p:txBody>
          <a:bodyPr/>
          <a:lstStyle/>
          <a:p>
            <a:r>
              <a:rPr lang="ar-MA" dirty="0"/>
              <a:t>تعيين تلميذ(ة) للإجابة</a:t>
            </a:r>
            <a:endParaRPr lang="fr-MA" dirty="0"/>
          </a:p>
        </p:txBody>
      </p:sp>
      <p:sp>
        <p:nvSpPr>
          <p:cNvPr id="23" name="Espace réservé du texte 22">
            <a:extLst>
              <a:ext uri="{FF2B5EF4-FFF2-40B4-BE49-F238E27FC236}">
                <a16:creationId xmlns:a16="http://schemas.microsoft.com/office/drawing/2014/main" id="{8996AF3B-A528-4707-FCB6-B291F8C7C08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prstGeom prst="roundRect">
            <a:avLst/>
          </a:prstGeom>
        </p:spPr>
        <p:txBody>
          <a:bodyPr/>
          <a:lstStyle/>
          <a:p>
            <a:r>
              <a:rPr lang="ar-MA" dirty="0"/>
              <a:t>توجيهات و شرح التعليمات</a:t>
            </a:r>
            <a:endParaRPr lang="fr-MA" dirty="0"/>
          </a:p>
        </p:txBody>
      </p:sp>
      <p:sp>
        <p:nvSpPr>
          <p:cNvPr id="24" name="Espace réservé du texte 23">
            <a:extLst>
              <a:ext uri="{FF2B5EF4-FFF2-40B4-BE49-F238E27FC236}">
                <a16:creationId xmlns:a16="http://schemas.microsoft.com/office/drawing/2014/main" id="{49905370-11BD-3654-8734-1BB5729C31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prstGeom prst="roundRect">
            <a:avLst/>
          </a:prstGeom>
        </p:spPr>
        <p:txBody>
          <a:bodyPr/>
          <a:lstStyle/>
          <a:p>
            <a:r>
              <a:rPr lang="ar-MA" dirty="0"/>
              <a:t>عرض فيديو</a:t>
            </a:r>
            <a:endParaRPr lang="fr-MA" dirty="0"/>
          </a:p>
        </p:txBody>
      </p:sp>
      <p:sp>
        <p:nvSpPr>
          <p:cNvPr id="25" name="Espace réservé du texte 24">
            <a:extLst>
              <a:ext uri="{FF2B5EF4-FFF2-40B4-BE49-F238E27FC236}">
                <a16:creationId xmlns:a16="http://schemas.microsoft.com/office/drawing/2014/main" id="{2DE2D423-DFDD-F18A-A3B9-AFF3B3B8881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prstGeom prst="roundRect">
            <a:avLst/>
          </a:prstGeom>
        </p:spPr>
        <p:txBody>
          <a:bodyPr/>
          <a:lstStyle/>
          <a:p>
            <a:r>
              <a:rPr lang="ar-MA" dirty="0"/>
              <a:t>المرور بين الصفوف للمساعدة و تصحيح الإنجازات</a:t>
            </a:r>
            <a:endParaRPr lang="fr-MA" dirty="0"/>
          </a:p>
        </p:txBody>
      </p:sp>
      <p:sp>
        <p:nvSpPr>
          <p:cNvPr id="26" name="Espace réservé du texte 25">
            <a:extLst>
              <a:ext uri="{FF2B5EF4-FFF2-40B4-BE49-F238E27FC236}">
                <a16:creationId xmlns:a16="http://schemas.microsoft.com/office/drawing/2014/main" id="{FE3F5F3B-8967-6834-358B-508ACECF213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prstGeom prst="roundRect">
            <a:avLst/>
          </a:prstGeom>
        </p:spPr>
        <p:txBody>
          <a:bodyPr/>
          <a:lstStyle/>
          <a:p>
            <a:r>
              <a:rPr lang="ar-MA" dirty="0"/>
              <a:t>عمل في ثنائيات</a:t>
            </a:r>
            <a:endParaRPr lang="fr-MA" dirty="0"/>
          </a:p>
        </p:txBody>
      </p:sp>
      <p:sp>
        <p:nvSpPr>
          <p:cNvPr id="27" name="Espace réservé du texte 26">
            <a:extLst>
              <a:ext uri="{FF2B5EF4-FFF2-40B4-BE49-F238E27FC236}">
                <a16:creationId xmlns:a16="http://schemas.microsoft.com/office/drawing/2014/main" id="{E4065A23-EDF8-69CB-1A07-FBB4DE2BB50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prstGeom prst="roundRect">
            <a:avLst/>
          </a:prstGeom>
        </p:spPr>
        <p:txBody>
          <a:bodyPr/>
          <a:lstStyle/>
          <a:p>
            <a:r>
              <a:rPr lang="ar-MA" dirty="0"/>
              <a:t>نهاية الشريط، المرور إلى الشريحة الموالية.</a:t>
            </a:r>
            <a:endParaRPr lang="fr-MA" dirty="0"/>
          </a:p>
        </p:txBody>
      </p:sp>
      <p:pic>
        <p:nvPicPr>
          <p:cNvPr id="16" name="Image 15" descr="Une image contenant noir, obscurité&#10;&#10;Le contenu généré par l’IA peut être incorrect.">
            <a:extLst>
              <a:ext uri="{FF2B5EF4-FFF2-40B4-BE49-F238E27FC236}">
                <a16:creationId xmlns:a16="http://schemas.microsoft.com/office/drawing/2014/main" id="{7376C046-DDA7-71FD-0BA2-C6C915112E6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757053" y="4245868"/>
            <a:ext cx="996593" cy="996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748758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08310E-D856-555A-1575-5FE8E494B2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id="{4ADDCDD7-C557-F8E3-4F75-2D21C5BCCA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547" y="756000"/>
            <a:ext cx="7061826" cy="612000"/>
          </a:xfrm>
        </p:spPr>
        <p:txBody>
          <a:bodyPr>
            <a:no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400" b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نواصل التصحيح  من يقرأ جوابه عن أسئلة الفهم. </a:t>
            </a:r>
            <a:r>
              <a:rPr lang="ar-MA" sz="2400" b="1" dirty="0">
                <a:solidFill>
                  <a:schemeClr val="bg1">
                    <a:lumMod val="50000"/>
                  </a:scheme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من يجيب عن السؤال الأول؟</a:t>
            </a:r>
            <a:endParaRPr kumimoji="0" lang="ar-MA" sz="2400" b="1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Microsoft Uighur" panose="02000000000000000000" pitchFamily="2" charset="-78"/>
              <a:ea typeface="Calibri" panose="020F0502020204030204" pitchFamily="34" charset="0"/>
              <a:cs typeface="Microsoft Uighur" panose="02000000000000000000" pitchFamily="2" charset="-78"/>
            </a:endParaRPr>
          </a:p>
        </p:txBody>
      </p:sp>
      <p:pic>
        <p:nvPicPr>
          <p:cNvPr id="10" name="Espace réservé pour une image  14">
            <a:extLst>
              <a:ext uri="{FF2B5EF4-FFF2-40B4-BE49-F238E27FC236}">
                <a16:creationId xmlns:a16="http://schemas.microsoft.com/office/drawing/2014/main" id="{2FE787B9-7299-C6A9-F553-0C7F04E8FD51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877F0871-0D3D-5685-9E36-799C163D2FE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10547" y="3038636"/>
            <a:ext cx="8240158" cy="1457163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797A1B5B-4961-83A8-F001-40C48829A437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61B19406-3DA9-8889-FF1D-1E9D38C3623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B518D1EF-9775-CAED-D09C-319D5D3FEEF9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6E08C08A-DDC3-C6DF-E86E-5601636BD4E8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9C885A7C-33DC-772A-8479-67BF4BEE7684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فتتاح الحصة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95A21D2-9F8C-06C8-17DE-986917CF44BF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5DB1A9E-76AA-009B-5ADA-19A6B3E03F0F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440A943-21B4-B61D-FBC1-D72AEE3933EA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قراءة الإثرائية</a:t>
            </a:r>
          </a:p>
        </p:txBody>
      </p:sp>
    </p:spTree>
    <p:extLst>
      <p:ext uri="{BB962C8B-B14F-4D97-AF65-F5344CB8AC3E}">
        <p14:creationId xmlns:p14="http://schemas.microsoft.com/office/powerpoint/2010/main" val="1238887407"/>
      </p:ext>
    </p:extLst>
  </p:cSld>
  <p:clrMapOvr>
    <a:masterClrMapping/>
  </p:clrMapOvr>
  <p:transition spd="slow"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20DB59-9EA7-08FA-C7A1-2911DE2989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id="{F08D2567-50CB-931B-EDD1-12E2BADB9D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547" y="756000"/>
            <a:ext cx="7061826" cy="612000"/>
          </a:xfrm>
        </p:spPr>
        <p:txBody>
          <a:bodyPr>
            <a:no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400" b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إليكم هذا الجواب . ما رأيكم؟ صححوا.</a:t>
            </a:r>
          </a:p>
        </p:txBody>
      </p:sp>
      <p:pic>
        <p:nvPicPr>
          <p:cNvPr id="10" name="Espace réservé pour une image  14">
            <a:extLst>
              <a:ext uri="{FF2B5EF4-FFF2-40B4-BE49-F238E27FC236}">
                <a16:creationId xmlns:a16="http://schemas.microsoft.com/office/drawing/2014/main" id="{CC5EC112-EB6A-B15F-F13F-FD2CFDE8AEF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56000504-FBE4-79CC-A1C0-11F669BACEA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44927" y="2770603"/>
            <a:ext cx="8240158" cy="1457163"/>
          </a:xfrm>
          <a:prstGeom prst="rect">
            <a:avLst/>
          </a:prstGeo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00775F25-3BCC-C92B-75E5-E1791CB48AAE}"/>
              </a:ext>
            </a:extLst>
          </p:cNvPr>
          <p:cNvSpPr txBox="1"/>
          <p:nvPr/>
        </p:nvSpPr>
        <p:spPr>
          <a:xfrm>
            <a:off x="444927" y="3429000"/>
            <a:ext cx="8254146" cy="132343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r"/>
            <a:r>
              <a:rPr lang="ar-MA" sz="4000" b="1" kern="0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كانَ لِزاماً عَلى ٱلْإنْسانِ أَنْ يَتَفاعَلَ مَعَ ٱلآخَرينَ لِأَنَّهُ لا يَسْتَطيعُ أَنْ يَمْتَهِنَ جَميعَ ٱلْمِهَنِ.</a:t>
            </a:r>
            <a:endParaRPr lang="fr-MA" sz="4000" b="1" kern="0" dirty="0">
              <a:solidFill>
                <a:srgbClr val="C00000"/>
              </a:solidFill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658B710B-4867-1775-979A-435010743966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6AC888D7-8E8E-E595-12E8-CDD25932FB7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46188D5E-AFC8-66CC-92A4-44BF3CD04B99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0575C4AE-ECC9-AE66-0228-2D7BF4804A7F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C7DF2417-2327-628B-2D21-C4744E55D3F5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فتتاح الحصة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31F2498-5EE3-1488-60CB-D2DD9AD40FEE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82E2EF4-2ABB-D90E-00CC-1BCB5F9784CB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68C7A38-E2A4-C466-A71A-64E9FD2CC3AC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قراءة الإثرائية</a:t>
            </a:r>
          </a:p>
        </p:txBody>
      </p:sp>
    </p:spTree>
    <p:extLst>
      <p:ext uri="{BB962C8B-B14F-4D97-AF65-F5344CB8AC3E}">
        <p14:creationId xmlns:p14="http://schemas.microsoft.com/office/powerpoint/2010/main" val="2736860568"/>
      </p:ext>
    </p:extLst>
  </p:cSld>
  <p:clrMapOvr>
    <a:masterClrMapping/>
  </p:clrMapOvr>
  <p:transition spd="slow"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4991AB-A65D-3552-D03C-AA24082326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id="{877AEBD3-EC3A-DE95-CFEA-E330DBB9F9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من يقدم لنا جوابه عن السؤال الثاني؟</a:t>
            </a:r>
          </a:p>
        </p:txBody>
      </p:sp>
      <p:pic>
        <p:nvPicPr>
          <p:cNvPr id="13" name="Espace réservé pour une image  14">
            <a:extLst>
              <a:ext uri="{FF2B5EF4-FFF2-40B4-BE49-F238E27FC236}">
                <a16:creationId xmlns:a16="http://schemas.microsoft.com/office/drawing/2014/main" id="{CB3B1FA3-6BFE-9322-C1A3-B542B62F6A00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grpSp>
        <p:nvGrpSpPr>
          <p:cNvPr id="18" name="Groupe 17">
            <a:extLst>
              <a:ext uri="{FF2B5EF4-FFF2-40B4-BE49-F238E27FC236}">
                <a16:creationId xmlns:a16="http://schemas.microsoft.com/office/drawing/2014/main" id="{F3A0ABCB-B55A-E0EF-1D03-C3667FCE8060}"/>
              </a:ext>
            </a:extLst>
          </p:cNvPr>
          <p:cNvGrpSpPr/>
          <p:nvPr/>
        </p:nvGrpSpPr>
        <p:grpSpPr>
          <a:xfrm>
            <a:off x="864331" y="2610646"/>
            <a:ext cx="7674192" cy="1247119"/>
            <a:chOff x="864331" y="2490330"/>
            <a:chExt cx="7674192" cy="1247119"/>
          </a:xfrm>
        </p:grpSpPr>
        <p:pic>
          <p:nvPicPr>
            <p:cNvPr id="19" name="Image 18">
              <a:extLst>
                <a:ext uri="{FF2B5EF4-FFF2-40B4-BE49-F238E27FC236}">
                  <a16:creationId xmlns:a16="http://schemas.microsoft.com/office/drawing/2014/main" id="{3090E0C8-2C36-2E47-B812-C20F9D5B380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5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864331" y="2538663"/>
              <a:ext cx="7674192" cy="1198786"/>
            </a:xfrm>
            <a:prstGeom prst="rect">
              <a:avLst/>
            </a:prstGeom>
          </p:spPr>
        </p:pic>
        <p:sp>
          <p:nvSpPr>
            <p:cNvPr id="20" name="ZoneTexte 19">
              <a:extLst>
                <a:ext uri="{FF2B5EF4-FFF2-40B4-BE49-F238E27FC236}">
                  <a16:creationId xmlns:a16="http://schemas.microsoft.com/office/drawing/2014/main" id="{FEC390BE-4FAD-C50A-7BF7-8404D7668D48}"/>
                </a:ext>
              </a:extLst>
            </p:cNvPr>
            <p:cNvSpPr txBox="1"/>
            <p:nvPr/>
          </p:nvSpPr>
          <p:spPr>
            <a:xfrm>
              <a:off x="3177233" y="2490330"/>
              <a:ext cx="2056340" cy="70788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r" rtl="1"/>
              <a:r>
                <a:rPr lang="ar-MA" sz="3200" b="1" dirty="0">
                  <a:latin typeface="Microsoft Uighur" panose="02000000000000000000" pitchFamily="2" charset="-78"/>
                  <a:cs typeface="Microsoft Uighur" panose="02000000000000000000" pitchFamily="2" charset="-78"/>
                </a:rPr>
                <a:t>فَوائِدِ التَّعايُشِ</a:t>
              </a:r>
              <a:r>
                <a:rPr lang="ar-MA" sz="4000" b="1" dirty="0">
                  <a:solidFill>
                    <a:srgbClr val="C00000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.</a:t>
              </a:r>
              <a:endParaRPr lang="fr-MA" sz="4000" b="1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endParaRPr>
            </a:p>
          </p:txBody>
        </p:sp>
      </p:grpSp>
      <p:pic>
        <p:nvPicPr>
          <p:cNvPr id="2" name="Image 1">
            <a:extLst>
              <a:ext uri="{FF2B5EF4-FFF2-40B4-BE49-F238E27FC236}">
                <a16:creationId xmlns:a16="http://schemas.microsoft.com/office/drawing/2014/main" id="{0EC5ABC0-0691-13E8-BA49-B5679516D0FB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68321C49-010E-5641-3F9D-A078300666D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9D6B6A41-CEFF-97E7-20CC-1C49F9C8E2AD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268D00E3-7319-6211-0A0B-3491D49F8304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CB039568-1998-AD54-E877-248AFC394352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فتتاح الحصة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6195F9A-9151-C8DA-66E4-FF917F237D2E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B7E5BD9-9ED5-C4D6-15DE-5682FF93C813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E0E31EB-B91A-318C-4F94-76A0D3A0031F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قراءة الإثرائية</a:t>
            </a:r>
          </a:p>
        </p:txBody>
      </p:sp>
    </p:spTree>
    <p:extLst>
      <p:ext uri="{BB962C8B-B14F-4D97-AF65-F5344CB8AC3E}">
        <p14:creationId xmlns:p14="http://schemas.microsoft.com/office/powerpoint/2010/main" val="3990660947"/>
      </p:ext>
    </p:extLst>
  </p:cSld>
  <p:clrMapOvr>
    <a:masterClrMapping/>
  </p:clrMapOvr>
  <p:transition spd="slow"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BC30B0-1746-1FCF-B3DA-488100F1A2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id="{FF795DB9-11B3-5892-80F1-668A4FE81B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إليكم هذا الجواب . ما رأيكم؟ صححوا.</a:t>
            </a:r>
          </a:p>
        </p:txBody>
      </p:sp>
      <p:pic>
        <p:nvPicPr>
          <p:cNvPr id="13" name="Espace réservé pour une image  14">
            <a:extLst>
              <a:ext uri="{FF2B5EF4-FFF2-40B4-BE49-F238E27FC236}">
                <a16:creationId xmlns:a16="http://schemas.microsoft.com/office/drawing/2014/main" id="{B745716E-C908-76A6-FAB1-7A3DCF003DF4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grpSp>
        <p:nvGrpSpPr>
          <p:cNvPr id="18" name="Groupe 17">
            <a:extLst>
              <a:ext uri="{FF2B5EF4-FFF2-40B4-BE49-F238E27FC236}">
                <a16:creationId xmlns:a16="http://schemas.microsoft.com/office/drawing/2014/main" id="{071D0EBE-C934-7D54-5E7C-7BBC1A5AB5BB}"/>
              </a:ext>
            </a:extLst>
          </p:cNvPr>
          <p:cNvGrpSpPr/>
          <p:nvPr/>
        </p:nvGrpSpPr>
        <p:grpSpPr>
          <a:xfrm>
            <a:off x="864331" y="2586582"/>
            <a:ext cx="7674192" cy="1271183"/>
            <a:chOff x="864331" y="2466266"/>
            <a:chExt cx="7674192" cy="1271183"/>
          </a:xfrm>
        </p:grpSpPr>
        <p:pic>
          <p:nvPicPr>
            <p:cNvPr id="19" name="Image 18">
              <a:extLst>
                <a:ext uri="{FF2B5EF4-FFF2-40B4-BE49-F238E27FC236}">
                  <a16:creationId xmlns:a16="http://schemas.microsoft.com/office/drawing/2014/main" id="{91CF2A02-0EBF-33C2-5CEF-B83EBE18994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5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864331" y="2538663"/>
              <a:ext cx="7674192" cy="1198786"/>
            </a:xfrm>
            <a:prstGeom prst="rect">
              <a:avLst/>
            </a:prstGeom>
          </p:spPr>
        </p:pic>
        <p:sp>
          <p:nvSpPr>
            <p:cNvPr id="20" name="ZoneTexte 19">
              <a:extLst>
                <a:ext uri="{FF2B5EF4-FFF2-40B4-BE49-F238E27FC236}">
                  <a16:creationId xmlns:a16="http://schemas.microsoft.com/office/drawing/2014/main" id="{64578D8F-60B6-A4D1-D016-EB1B123BC761}"/>
                </a:ext>
              </a:extLst>
            </p:cNvPr>
            <p:cNvSpPr txBox="1"/>
            <p:nvPr/>
          </p:nvSpPr>
          <p:spPr>
            <a:xfrm>
              <a:off x="3177233" y="2466266"/>
              <a:ext cx="2056340" cy="70788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r" defTabSz="4572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فَوائِدِ التَّعايُشِ</a:t>
              </a:r>
              <a:r>
                <a:rPr kumimoji="0" lang="ar-MA" sz="40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.</a:t>
              </a:r>
              <a:endParaRPr kumimoji="0" lang="fr-MA" sz="4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endParaRPr>
            </a:p>
          </p:txBody>
        </p:sp>
      </p:grpSp>
      <p:sp>
        <p:nvSpPr>
          <p:cNvPr id="7" name="ZoneTexte 6">
            <a:extLst>
              <a:ext uri="{FF2B5EF4-FFF2-40B4-BE49-F238E27FC236}">
                <a16:creationId xmlns:a16="http://schemas.microsoft.com/office/drawing/2014/main" id="{2241870E-B635-5B73-F3C9-309117E4511A}"/>
              </a:ext>
            </a:extLst>
          </p:cNvPr>
          <p:cNvSpPr txBox="1"/>
          <p:nvPr/>
        </p:nvSpPr>
        <p:spPr>
          <a:xfrm>
            <a:off x="517359" y="3219758"/>
            <a:ext cx="7890917" cy="327269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R="0" lvl="0" algn="just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tabLst/>
              <a:defRPr/>
            </a:pPr>
            <a:r>
              <a:rPr lang="ar-SA" sz="4000" b="1" kern="0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إِنَّ ٱلْحَياةَ ٱلْجَماعِيَّةَ تُثْري </a:t>
            </a:r>
            <a:r>
              <a:rPr lang="ar-SA" sz="4000" b="1" kern="0" dirty="0" err="1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ٱلْفَرْدَ</a:t>
            </a:r>
            <a:r>
              <a:rPr lang="ar-SA" sz="4000" b="1" kern="0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 </a:t>
            </a:r>
            <a:r>
              <a:rPr lang="ar-SA" sz="4000" b="1" kern="0" dirty="0" err="1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بِٱلْخِبْراتِ</a:t>
            </a:r>
            <a:r>
              <a:rPr lang="ar-SA" sz="4000" b="1" kern="0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 </a:t>
            </a:r>
            <a:r>
              <a:rPr lang="ar-SA" sz="4000" b="1" kern="0" dirty="0" err="1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وَٱلْمَهاراتِ</a:t>
            </a:r>
            <a:r>
              <a:rPr lang="ar-SA" sz="4000" b="1" kern="0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 ٱلَّتي لا يُمْكِنُ </a:t>
            </a:r>
            <a:r>
              <a:rPr lang="ar-SA" sz="4000" b="1" kern="0" dirty="0" err="1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ٱكْتِسابُهَا</a:t>
            </a:r>
            <a:r>
              <a:rPr lang="ar-SA" sz="4000" b="1" kern="0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 في عُزْلَةٍ</a:t>
            </a:r>
            <a:r>
              <a:rPr lang="fr-FR" sz="4000" b="1" kern="0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.</a:t>
            </a:r>
          </a:p>
          <a:p>
            <a:pPr marR="0" lvl="0" algn="just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tabLst/>
              <a:defRPr/>
            </a:pPr>
            <a:r>
              <a:rPr lang="ar-SA" sz="4000" b="1" kern="0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 كَما أَنَّ ٱلتَاريخَ يَشْهَدُ عَلى أَنَّ </a:t>
            </a:r>
            <a:r>
              <a:rPr lang="ar-SA" sz="4000" b="1" kern="0" dirty="0" err="1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ٱلْأُمَمَ</a:t>
            </a:r>
            <a:r>
              <a:rPr lang="ar-SA" sz="4000" b="1" kern="0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 ٱلَّتي تَحَلّى أَفْرادُها بِروحِ </a:t>
            </a:r>
            <a:r>
              <a:rPr lang="ar-SA" sz="4000" b="1" kern="0" dirty="0" err="1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ٱلْجَماعَةِ</a:t>
            </a:r>
            <a:r>
              <a:rPr lang="ar-SA" sz="4000" b="1" kern="0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 </a:t>
            </a:r>
            <a:r>
              <a:rPr lang="ar-SA" sz="4000" b="1" kern="0" dirty="0" err="1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وَٱلتَّعاضُدِ</a:t>
            </a:r>
            <a:r>
              <a:rPr lang="ar-SA" sz="4000" b="1" kern="0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 ٱسْتَطاعَتْ أَنْ تُحَقِّقَ إِنْجازاتٍ عَظيمَةً وَتَتْرُكَ بَصَماتٍ لا تُمْحى في سِجِلِّ ٱلْبَشَرِيَّةِ.</a:t>
            </a:r>
            <a:endParaRPr lang="fr-FR" sz="4000" b="1" kern="0" dirty="0">
              <a:solidFill>
                <a:srgbClr val="C00000"/>
              </a:solidFill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C124634D-9C9D-6B4E-F1E6-5EA2FD736EA1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8CE2E583-9710-8CF6-3DF2-11D32991208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F9E025B6-266C-5295-5F1E-6516ED7D9061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BD056391-2C3C-8DC3-3398-5C4540A70466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61E26CCA-BD30-D090-33EE-1AC7AD3F9121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فتتاح الحصة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51A79A0-658C-8EC2-7B12-0592207A1D25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CBC967E-6C07-56B3-A083-F248C8FF0385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2A38491-7806-AEEC-8F11-732625F9D979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قراءة الإثرائية</a:t>
            </a:r>
          </a:p>
        </p:txBody>
      </p:sp>
    </p:spTree>
    <p:extLst>
      <p:ext uri="{BB962C8B-B14F-4D97-AF65-F5344CB8AC3E}">
        <p14:creationId xmlns:p14="http://schemas.microsoft.com/office/powerpoint/2010/main" val="2338589163"/>
      </p:ext>
    </p:extLst>
  </p:cSld>
  <p:clrMapOvr>
    <a:masterClrMapping/>
  </p:clrMapOvr>
  <p:transition spd="slow"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E500A3-CEE0-134E-0491-D4C51A5BAE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id="{D0709994-8A29-0613-2A73-A64F3AAD73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lang="ar-MA" sz="2400" b="1" dirty="0">
                <a:solidFill>
                  <a:schemeClr val="bg1">
                    <a:lumMod val="50000"/>
                  </a:scheme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الآن ، </a:t>
            </a: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أنجزوا الأنشطة التالية: معكم 10 دقائق للإنجاز</a:t>
            </a:r>
          </a:p>
        </p:txBody>
      </p:sp>
      <p:pic>
        <p:nvPicPr>
          <p:cNvPr id="13" name="Espace réservé pour une image  14">
            <a:extLst>
              <a:ext uri="{FF2B5EF4-FFF2-40B4-BE49-F238E27FC236}">
                <a16:creationId xmlns:a16="http://schemas.microsoft.com/office/drawing/2014/main" id="{D7BB4599-B51B-4EA4-467A-35892BD2895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B5CE1357-7A86-84ED-DB8C-2E9E769B991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32374" y="1681947"/>
            <a:ext cx="7103932" cy="4909152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05D121F5-1874-E20F-C9C5-3E7B8F263960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D2B7D428-5107-EA94-029A-253A0FCC144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930EFE23-185D-32CA-08BD-48DB501281B9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4F5F4063-191E-4FA2-98CE-D013BA5A05C6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01DB158B-013B-F749-D3C5-0DFE3D3DA559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فتتاح الحصة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EDAB878-63C5-224F-9D9A-B05A981181DC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33005D2-5201-E8C7-E591-3FB3DDA7A95D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D06EDF7-4190-8E4E-B6AF-7C7F4E62BCB9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قراءة الإثرائية</a:t>
            </a:r>
          </a:p>
        </p:txBody>
      </p:sp>
    </p:spTree>
    <p:extLst>
      <p:ext uri="{BB962C8B-B14F-4D97-AF65-F5344CB8AC3E}">
        <p14:creationId xmlns:p14="http://schemas.microsoft.com/office/powerpoint/2010/main" val="928293520"/>
      </p:ext>
    </p:extLst>
  </p:cSld>
  <p:clrMapOvr>
    <a:masterClrMapping/>
  </p:clrMapOvr>
  <p:transition spd="slow">
    <p:fad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E02EAD-E658-17E2-8D9D-8A1F00CDA6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id="{C9F7C44D-65F2-7A71-4A76-A4D808FA09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lang="ar-MA" sz="2400" b="1" dirty="0">
                <a:solidFill>
                  <a:schemeClr val="bg1">
                    <a:lumMod val="50000"/>
                  </a:scheme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سأمر بيم الصفوف لمساعدتكم</a:t>
            </a:r>
          </a:p>
        </p:txBody>
      </p:sp>
      <p:pic>
        <p:nvPicPr>
          <p:cNvPr id="13" name="Espace réservé pour une image  14">
            <a:extLst>
              <a:ext uri="{FF2B5EF4-FFF2-40B4-BE49-F238E27FC236}">
                <a16:creationId xmlns:a16="http://schemas.microsoft.com/office/drawing/2014/main" id="{EC8D79C2-242B-7427-B69F-9506461E6654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1BEE7B1B-6D81-B53A-5BFC-267B5BB144B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32374" y="1681947"/>
            <a:ext cx="7103932" cy="4909152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543A7FA4-A31F-F9FC-C46A-04B5B727230C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0B5A9AC8-7A3A-85A8-A959-CFDB02341EA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6F5B1F76-67A9-3DE9-7672-A6C3CF024CFD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827C77D3-77E1-312A-C165-3B9BBAA61D0D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97A5A412-B135-3D42-5C2F-7CA7C406CA0F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فتتاح الحصة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AFBA5FD-F49D-369D-271B-9DAFD82190F5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8000D81-F779-7A3A-1F48-62BBC25C62C8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8BAB17E-FF3F-A1D5-EED6-A6579767334A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قراءة الإثرائية</a:t>
            </a:r>
          </a:p>
        </p:txBody>
      </p:sp>
    </p:spTree>
    <p:extLst>
      <p:ext uri="{BB962C8B-B14F-4D97-AF65-F5344CB8AC3E}">
        <p14:creationId xmlns:p14="http://schemas.microsoft.com/office/powerpoint/2010/main" val="2776922454"/>
      </p:ext>
    </p:extLst>
  </p:cSld>
  <p:clrMapOvr>
    <a:masterClrMapping/>
  </p:clrMapOvr>
  <p:transition spd="slow">
    <p:fade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E4B4FE-3949-A608-F463-3725E2C8CC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id="{D4D16419-EBDD-2C1D-A897-217EF409C8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lang="ar-MA" sz="2400" b="1" dirty="0">
                <a:solidFill>
                  <a:schemeClr val="bg1">
                    <a:lumMod val="50000"/>
                  </a:scheme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نصحح السؤال الرابع. من يجيب؟</a:t>
            </a:r>
          </a:p>
        </p:txBody>
      </p:sp>
      <p:pic>
        <p:nvPicPr>
          <p:cNvPr id="13" name="Espace réservé pour une image  14">
            <a:extLst>
              <a:ext uri="{FF2B5EF4-FFF2-40B4-BE49-F238E27FC236}">
                <a16:creationId xmlns:a16="http://schemas.microsoft.com/office/drawing/2014/main" id="{2C5F9F5F-3EAA-2D0C-1CC3-BA698086A15B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76BEF0C4-418F-88BE-FE86-7C75F5568C0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01977" y="2718915"/>
            <a:ext cx="8140045" cy="2489148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36713BA4-9A9D-CC55-CCE8-0FB390DFB63E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2E674944-41D9-4A9D-FB45-9E4AFD23BC2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650D46BB-9387-79EF-4EEB-7768488FE561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B6091AA2-0CB8-3B9F-DAF4-46B8C3D80E85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E86EA1F4-2E53-7617-5127-6EB38665559C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فتتاح الحصة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FB803D4-E84B-99E9-367B-6C0CEF038550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AE8130F-7AC9-90A0-24EF-E5A71EEB63FC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7DDAC47-B9EE-0370-5731-B63F786E6CDE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قراءة الإثرائية</a:t>
            </a:r>
          </a:p>
        </p:txBody>
      </p:sp>
    </p:spTree>
    <p:extLst>
      <p:ext uri="{BB962C8B-B14F-4D97-AF65-F5344CB8AC3E}">
        <p14:creationId xmlns:p14="http://schemas.microsoft.com/office/powerpoint/2010/main" val="2527704532"/>
      </p:ext>
    </p:extLst>
  </p:cSld>
  <p:clrMapOvr>
    <a:masterClrMapping/>
  </p:clrMapOvr>
  <p:transition spd="slow">
    <p:fade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D3BB66-2D8E-2BC3-52C3-A750B5DEE3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id="{FBEED42A-7AFD-97FC-3741-5E57EFA176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lang="ar-MA" sz="2400" b="1" dirty="0">
                <a:solidFill>
                  <a:schemeClr val="bg1">
                    <a:lumMod val="50000"/>
                  </a:scheme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إليكم هذا النموذج؟ صححوا. هناك إجابات أخرى ممكنة</a:t>
            </a:r>
          </a:p>
        </p:txBody>
      </p:sp>
      <p:pic>
        <p:nvPicPr>
          <p:cNvPr id="13" name="Espace réservé pour une image  14">
            <a:extLst>
              <a:ext uri="{FF2B5EF4-FFF2-40B4-BE49-F238E27FC236}">
                <a16:creationId xmlns:a16="http://schemas.microsoft.com/office/drawing/2014/main" id="{0C8F226E-7221-3438-FF20-02291F2CBA3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D0166C8B-AA18-D4B5-3374-FAFA0ABCEF8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01977" y="2718915"/>
            <a:ext cx="8140045" cy="2489148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13102C1E-D5EF-C99A-EBA2-7C350C86DC75}"/>
              </a:ext>
            </a:extLst>
          </p:cNvPr>
          <p:cNvSpPr txBox="1"/>
          <p:nvPr/>
        </p:nvSpPr>
        <p:spPr>
          <a:xfrm>
            <a:off x="501977" y="3561418"/>
            <a:ext cx="5949179" cy="70788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r" rtl="1"/>
            <a:r>
              <a:rPr lang="ar-MA" sz="4000" b="1" kern="0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يُصْبِحُ مُهَنْدِساً وَطَبيباً وَمُدَرِّساً وَنَجّاراً.</a:t>
            </a:r>
            <a:endParaRPr lang="fr-MA" sz="4000" b="1" kern="0" dirty="0">
              <a:solidFill>
                <a:srgbClr val="C00000"/>
              </a:solidFill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915A60B9-B975-88B7-6520-DD55FA7F9B3A}"/>
              </a:ext>
            </a:extLst>
          </p:cNvPr>
          <p:cNvSpPr txBox="1"/>
          <p:nvPr/>
        </p:nvSpPr>
        <p:spPr>
          <a:xfrm>
            <a:off x="466397" y="4279110"/>
            <a:ext cx="5471184" cy="70788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r"/>
            <a:r>
              <a:rPr lang="ar-MA" sz="4000" b="1" kern="0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ظَلَّ ٱلْفَرْدُ مُحْتاجاً دائِماً لِغَيْرِهِ.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4F0C7671-4392-F6B9-B168-92B473810171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0A269D2A-6351-794F-A1E2-F03F23041ED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D3A75C8B-7FE8-B3B0-C94C-8B9DBA0A5E4D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D6B4D337-5A1C-7735-00A0-83E4E125B37C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DC402B06-B9E6-827E-56FF-7F9797C3A24E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فتتاح الحصة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B14DA64-3659-822C-6F3E-3D466FED31F4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FA51B93-0457-CBCF-10CE-03A361381BDC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BC02784-E011-948E-34DC-3AE6E578867E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قراءة الإثرائية</a:t>
            </a:r>
          </a:p>
        </p:txBody>
      </p:sp>
    </p:spTree>
    <p:extLst>
      <p:ext uri="{BB962C8B-B14F-4D97-AF65-F5344CB8AC3E}">
        <p14:creationId xmlns:p14="http://schemas.microsoft.com/office/powerpoint/2010/main" val="1884433344"/>
      </p:ext>
    </p:extLst>
  </p:cSld>
  <p:clrMapOvr>
    <a:masterClrMapping/>
  </p:clrMapOvr>
  <p:transition spd="slow">
    <p:fade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22B07D-8018-232E-E61A-00E805AD18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id="{0C0AEB53-6C9A-DA5F-09DC-11F95EA0DB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lang="ar-MA" sz="2400" b="1" dirty="0">
                <a:solidFill>
                  <a:schemeClr val="bg1">
                    <a:lumMod val="50000"/>
                  </a:scheme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نصحح السؤال الخامس. من يجيب؟</a:t>
            </a:r>
          </a:p>
        </p:txBody>
      </p:sp>
      <p:pic>
        <p:nvPicPr>
          <p:cNvPr id="13" name="Espace réservé pour une image  14">
            <a:extLst>
              <a:ext uri="{FF2B5EF4-FFF2-40B4-BE49-F238E27FC236}">
                <a16:creationId xmlns:a16="http://schemas.microsoft.com/office/drawing/2014/main" id="{E4E94E0E-7A9A-BBE4-D31D-FECB1916052F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4565FA05-ACFB-0684-2DFC-F20761C094A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03803" y="2394285"/>
            <a:ext cx="8136394" cy="2971798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ADC857B6-1154-7989-56ED-F5D8729B68F0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9CAAA1BF-3ED9-0BCF-F707-172EA85582C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51990BCC-DD2A-54B0-A99C-E66E774AEA43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84422CEB-7E9E-F0A2-EADF-3D05E3A0C905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B1F7149E-6011-174D-AC91-1D2E9E47B9C6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فتتاح الحصة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CB419A5-6D9F-2B02-93B7-1AAB9E1AC411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BB09ECF-8BCE-D248-4C30-831F3E847F52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508AFF7-51C1-49BE-C48C-9AFB3EC98F0F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قراءة الإثرائية</a:t>
            </a:r>
          </a:p>
        </p:txBody>
      </p:sp>
    </p:spTree>
    <p:extLst>
      <p:ext uri="{BB962C8B-B14F-4D97-AF65-F5344CB8AC3E}">
        <p14:creationId xmlns:p14="http://schemas.microsoft.com/office/powerpoint/2010/main" val="2751423947"/>
      </p:ext>
    </p:extLst>
  </p:cSld>
  <p:clrMapOvr>
    <a:masterClrMapping/>
  </p:clrMapOvr>
  <p:transition spd="slow">
    <p:fade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67EDA2-A94F-4BF8-DF31-33DE2E64AE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id="{157CB43B-7876-5989-8761-866FA93B6A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lang="ar-MA" sz="2400" b="1" dirty="0">
                <a:solidFill>
                  <a:schemeClr val="bg1">
                    <a:lumMod val="50000"/>
                  </a:scheme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صححوا.</a:t>
            </a:r>
          </a:p>
        </p:txBody>
      </p:sp>
      <p:pic>
        <p:nvPicPr>
          <p:cNvPr id="13" name="Espace réservé pour une image  14">
            <a:extLst>
              <a:ext uri="{FF2B5EF4-FFF2-40B4-BE49-F238E27FC236}">
                <a16:creationId xmlns:a16="http://schemas.microsoft.com/office/drawing/2014/main" id="{BCC5CB52-46D0-EF3A-90CE-87C0DFE550FA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55949240-3238-E0B8-37E0-9E7401F4544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03803" y="2394285"/>
            <a:ext cx="8136394" cy="2971798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1C74A556-BE5F-DBD9-19EA-9C12E2C88B19}"/>
              </a:ext>
            </a:extLst>
          </p:cNvPr>
          <p:cNvSpPr txBox="1"/>
          <p:nvPr/>
        </p:nvSpPr>
        <p:spPr>
          <a:xfrm>
            <a:off x="451946" y="3049187"/>
            <a:ext cx="7418238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8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اسِخٌ فعليٌّ</a:t>
            </a:r>
            <a:endParaRPr kumimoji="0" lang="fr-FR" sz="48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55B1347B-7B7C-A825-75AD-ADE17B5CE546}"/>
              </a:ext>
            </a:extLst>
          </p:cNvPr>
          <p:cNvSpPr txBox="1"/>
          <p:nvPr/>
        </p:nvSpPr>
        <p:spPr>
          <a:xfrm>
            <a:off x="415159" y="3777222"/>
            <a:ext cx="7355700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8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ِسْمُ لَيْسَ مَرْفوعٌ </a:t>
            </a:r>
            <a:endParaRPr kumimoji="0" lang="fr-FR" sz="48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D29639F3-CB2D-3AE2-D43C-D9EC7F527646}"/>
              </a:ext>
            </a:extLst>
          </p:cNvPr>
          <p:cNvSpPr txBox="1"/>
          <p:nvPr/>
        </p:nvSpPr>
        <p:spPr>
          <a:xfrm>
            <a:off x="404648" y="4543520"/>
            <a:ext cx="7366211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8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خَبَرُ لَيْسَ مَنْصوبٌ </a:t>
            </a:r>
            <a:endParaRPr kumimoji="0" lang="fr-FR" sz="48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D4FF4415-4C42-F102-A889-1E0B4CCAF88B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4B524991-A89C-AC9D-DC0D-E1CEBACDDE1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911F44CA-71FC-6976-01D5-9136DACA534A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3C75AF45-4315-8A72-2342-AA7A50376589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A613A51C-CAF9-F36C-E343-A1471E3DD590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فتتاح الحصة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1F38BDB-0A6F-BE52-58D9-1B15889D413A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A88EEC6-980F-CC47-F716-3D0CDD288F8B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AAEF229-F07F-2AD1-EC74-4229044ED17D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قراءة الإثرائية</a:t>
            </a:r>
          </a:p>
        </p:txBody>
      </p:sp>
    </p:spTree>
    <p:extLst>
      <p:ext uri="{BB962C8B-B14F-4D97-AF65-F5344CB8AC3E}">
        <p14:creationId xmlns:p14="http://schemas.microsoft.com/office/powerpoint/2010/main" val="3157651870"/>
      </p:ext>
    </p:extLst>
  </p:cSld>
  <p:clrMapOvr>
    <a:masterClrMapping/>
  </p:clrMapOvr>
  <p:transition spd="slow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84CE41-FEEC-9491-0DA5-71307BCDD6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>
            <a:extLst>
              <a:ext uri="{FF2B5EF4-FFF2-40B4-BE49-F238E27FC236}">
                <a16:creationId xmlns:a16="http://schemas.microsoft.com/office/drawing/2014/main" id="{C457611A-7320-684C-F81A-1AE5EA5889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196" y="1008000"/>
            <a:ext cx="7886700" cy="720000"/>
          </a:xfrm>
        </p:spPr>
        <p:txBody>
          <a:bodyPr>
            <a:normAutofit/>
          </a:bodyPr>
          <a:lstStyle/>
          <a:p>
            <a:r>
              <a:rPr lang="ar-MA" sz="4000" dirty="0">
                <a:latin typeface="Microsoft Uighur" panose="02000000000000000000" pitchFamily="2" charset="-78"/>
                <a:cs typeface="Microsoft Uighur" panose="02000000000000000000" pitchFamily="2" charset="-78"/>
              </a:rPr>
              <a:t>تنظيم حصص الأسبوع الرابع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57CE2658-CA21-E83E-5252-F002239D073E}"/>
              </a:ext>
            </a:extLst>
          </p:cNvPr>
          <p:cNvGrpSpPr/>
          <p:nvPr/>
        </p:nvGrpSpPr>
        <p:grpSpPr>
          <a:xfrm flipH="1">
            <a:off x="4735350" y="5023288"/>
            <a:ext cx="3780000" cy="1332000"/>
            <a:chOff x="4735350" y="5023288"/>
            <a:chExt cx="3780000" cy="1332000"/>
          </a:xfrm>
        </p:grpSpPr>
        <p:sp>
          <p:nvSpPr>
            <p:cNvPr id="12" name="Rectangle : coins arrondis 11">
              <a:extLst>
                <a:ext uri="{FF2B5EF4-FFF2-40B4-BE49-F238E27FC236}">
                  <a16:creationId xmlns:a16="http://schemas.microsoft.com/office/drawing/2014/main" id="{03BB743F-C8AB-23D6-06EE-344CFF115A5F}"/>
                </a:ext>
              </a:extLst>
            </p:cNvPr>
            <p:cNvSpPr/>
            <p:nvPr userDrawn="1"/>
          </p:nvSpPr>
          <p:spPr>
            <a:xfrm>
              <a:off x="4735350" y="5275288"/>
              <a:ext cx="3780000" cy="1080000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endParaRPr>
            </a:p>
          </p:txBody>
        </p:sp>
        <p:sp>
          <p:nvSpPr>
            <p:cNvPr id="13" name="Organigramme : Terminateur 12">
              <a:extLst>
                <a:ext uri="{FF2B5EF4-FFF2-40B4-BE49-F238E27FC236}">
                  <a16:creationId xmlns:a16="http://schemas.microsoft.com/office/drawing/2014/main" id="{552710A4-5C08-F139-B434-DCB40E406389}"/>
                </a:ext>
              </a:extLst>
            </p:cNvPr>
            <p:cNvSpPr/>
            <p:nvPr userDrawn="1"/>
          </p:nvSpPr>
          <p:spPr>
            <a:xfrm>
              <a:off x="4951350" y="5023288"/>
              <a:ext cx="1260000" cy="360000"/>
            </a:xfrm>
            <a:prstGeom prst="flowChartTerminator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</a:t>
              </a:r>
              <a:r>
                <a:rPr kumimoji="0" lang="fr-MA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 3 - </a:t>
              </a:r>
            </a:p>
          </p:txBody>
        </p:sp>
      </p:grp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591666A1-FD43-165C-4D4D-2AB1E5289646}"/>
              </a:ext>
            </a:extLst>
          </p:cNvPr>
          <p:cNvGrpSpPr/>
          <p:nvPr/>
        </p:nvGrpSpPr>
        <p:grpSpPr>
          <a:xfrm flipH="1">
            <a:off x="4735350" y="3482113"/>
            <a:ext cx="3780000" cy="1332000"/>
            <a:chOff x="4735350" y="3482113"/>
            <a:chExt cx="3780000" cy="1332000"/>
          </a:xfrm>
        </p:grpSpPr>
        <p:sp>
          <p:nvSpPr>
            <p:cNvPr id="18" name="Rectangle : coins arrondis 17">
              <a:extLst>
                <a:ext uri="{FF2B5EF4-FFF2-40B4-BE49-F238E27FC236}">
                  <a16:creationId xmlns:a16="http://schemas.microsoft.com/office/drawing/2014/main" id="{B9037693-DB46-89FF-2955-B70DAC6A1724}"/>
                </a:ext>
              </a:extLst>
            </p:cNvPr>
            <p:cNvSpPr/>
            <p:nvPr userDrawn="1"/>
          </p:nvSpPr>
          <p:spPr>
            <a:xfrm>
              <a:off x="4735350" y="3734113"/>
              <a:ext cx="3780000" cy="1080000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endParaRPr>
            </a:p>
          </p:txBody>
        </p:sp>
        <p:sp>
          <p:nvSpPr>
            <p:cNvPr id="19" name="Organigramme : Terminateur 18">
              <a:extLst>
                <a:ext uri="{FF2B5EF4-FFF2-40B4-BE49-F238E27FC236}">
                  <a16:creationId xmlns:a16="http://schemas.microsoft.com/office/drawing/2014/main" id="{39FEDF2F-9A91-9E1F-CE58-3A773D210A9A}"/>
                </a:ext>
              </a:extLst>
            </p:cNvPr>
            <p:cNvSpPr/>
            <p:nvPr userDrawn="1"/>
          </p:nvSpPr>
          <p:spPr>
            <a:xfrm>
              <a:off x="4951350" y="3482113"/>
              <a:ext cx="1260000" cy="360000"/>
            </a:xfrm>
            <a:prstGeom prst="flowChartTerminator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</a:t>
              </a:r>
              <a:r>
                <a:rPr kumimoji="0" lang="fr-MA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2 - </a:t>
              </a:r>
              <a:endPara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endParaRPr>
            </a:p>
          </p:txBody>
        </p:sp>
      </p:grpSp>
      <p:grpSp>
        <p:nvGrpSpPr>
          <p:cNvPr id="20" name="Groupe 19">
            <a:extLst>
              <a:ext uri="{FF2B5EF4-FFF2-40B4-BE49-F238E27FC236}">
                <a16:creationId xmlns:a16="http://schemas.microsoft.com/office/drawing/2014/main" id="{0B9A4D98-C7AB-CFDC-8C5F-3CF6D60447B2}"/>
              </a:ext>
            </a:extLst>
          </p:cNvPr>
          <p:cNvGrpSpPr/>
          <p:nvPr/>
        </p:nvGrpSpPr>
        <p:grpSpPr>
          <a:xfrm flipH="1">
            <a:off x="628649" y="3482113"/>
            <a:ext cx="3780000" cy="1332000"/>
            <a:chOff x="628649" y="3482113"/>
            <a:chExt cx="3780000" cy="1332000"/>
          </a:xfrm>
        </p:grpSpPr>
        <p:sp>
          <p:nvSpPr>
            <p:cNvPr id="21" name="Rectangle : coins arrondis 20">
              <a:extLst>
                <a:ext uri="{FF2B5EF4-FFF2-40B4-BE49-F238E27FC236}">
                  <a16:creationId xmlns:a16="http://schemas.microsoft.com/office/drawing/2014/main" id="{FB9D134F-B08A-AD59-ADF8-20CF6643F522}"/>
                </a:ext>
              </a:extLst>
            </p:cNvPr>
            <p:cNvSpPr/>
            <p:nvPr userDrawn="1"/>
          </p:nvSpPr>
          <p:spPr>
            <a:xfrm>
              <a:off x="628649" y="3734113"/>
              <a:ext cx="3780000" cy="1080000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endParaRPr>
            </a:p>
          </p:txBody>
        </p:sp>
        <p:sp>
          <p:nvSpPr>
            <p:cNvPr id="22" name="Organigramme : Terminateur 21">
              <a:extLst>
                <a:ext uri="{FF2B5EF4-FFF2-40B4-BE49-F238E27FC236}">
                  <a16:creationId xmlns:a16="http://schemas.microsoft.com/office/drawing/2014/main" id="{A3E44CB0-0E44-3BF9-6CAD-42FB6CCC8217}"/>
                </a:ext>
              </a:extLst>
            </p:cNvPr>
            <p:cNvSpPr/>
            <p:nvPr userDrawn="1"/>
          </p:nvSpPr>
          <p:spPr>
            <a:xfrm>
              <a:off x="844649" y="3482113"/>
              <a:ext cx="1260000" cy="360000"/>
            </a:xfrm>
            <a:prstGeom prst="flowChartTerminator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</a:t>
              </a:r>
              <a:r>
                <a:rPr kumimoji="0" lang="fr-MA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5 -</a:t>
              </a:r>
            </a:p>
          </p:txBody>
        </p:sp>
      </p:grpSp>
      <p:grpSp>
        <p:nvGrpSpPr>
          <p:cNvPr id="23" name="Groupe 22">
            <a:extLst>
              <a:ext uri="{FF2B5EF4-FFF2-40B4-BE49-F238E27FC236}">
                <a16:creationId xmlns:a16="http://schemas.microsoft.com/office/drawing/2014/main" id="{9E3A479A-EEFB-F915-EA6D-0DD2483EFFC9}"/>
              </a:ext>
            </a:extLst>
          </p:cNvPr>
          <p:cNvGrpSpPr/>
          <p:nvPr/>
        </p:nvGrpSpPr>
        <p:grpSpPr>
          <a:xfrm flipH="1">
            <a:off x="4716000" y="1944000"/>
            <a:ext cx="3780000" cy="1332000"/>
            <a:chOff x="4716000" y="1944000"/>
            <a:chExt cx="3780000" cy="1332000"/>
          </a:xfrm>
        </p:grpSpPr>
        <p:sp>
          <p:nvSpPr>
            <p:cNvPr id="24" name="Rectangle : coins arrondis 23">
              <a:extLst>
                <a:ext uri="{FF2B5EF4-FFF2-40B4-BE49-F238E27FC236}">
                  <a16:creationId xmlns:a16="http://schemas.microsoft.com/office/drawing/2014/main" id="{88207185-0779-F740-8062-E613F545AF84}"/>
                </a:ext>
              </a:extLst>
            </p:cNvPr>
            <p:cNvSpPr/>
            <p:nvPr userDrawn="1"/>
          </p:nvSpPr>
          <p:spPr>
            <a:xfrm>
              <a:off x="4716000" y="2196000"/>
              <a:ext cx="3780000" cy="1080000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endParaRPr>
            </a:p>
          </p:txBody>
        </p:sp>
        <p:sp>
          <p:nvSpPr>
            <p:cNvPr id="25" name="Organigramme : Terminateur 24">
              <a:extLst>
                <a:ext uri="{FF2B5EF4-FFF2-40B4-BE49-F238E27FC236}">
                  <a16:creationId xmlns:a16="http://schemas.microsoft.com/office/drawing/2014/main" id="{D1A78702-1C85-B8FA-B6E7-487DC548638E}"/>
                </a:ext>
              </a:extLst>
            </p:cNvPr>
            <p:cNvSpPr/>
            <p:nvPr userDrawn="1"/>
          </p:nvSpPr>
          <p:spPr>
            <a:xfrm>
              <a:off x="4932000" y="1944000"/>
              <a:ext cx="1260000" cy="360000"/>
            </a:xfrm>
            <a:prstGeom prst="flowChartTerminator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</a:t>
              </a:r>
              <a:r>
                <a:rPr kumimoji="0" lang="fr-MA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1 - </a:t>
              </a:r>
            </a:p>
          </p:txBody>
        </p:sp>
      </p:grpSp>
      <p:grpSp>
        <p:nvGrpSpPr>
          <p:cNvPr id="27" name="Groupe 26">
            <a:extLst>
              <a:ext uri="{FF2B5EF4-FFF2-40B4-BE49-F238E27FC236}">
                <a16:creationId xmlns:a16="http://schemas.microsoft.com/office/drawing/2014/main" id="{EF2217A3-3DCE-8FA8-DC5D-88309677DB89}"/>
              </a:ext>
            </a:extLst>
          </p:cNvPr>
          <p:cNvGrpSpPr/>
          <p:nvPr/>
        </p:nvGrpSpPr>
        <p:grpSpPr>
          <a:xfrm flipH="1">
            <a:off x="648000" y="1944000"/>
            <a:ext cx="3780000" cy="1332000"/>
            <a:chOff x="648000" y="1944000"/>
            <a:chExt cx="3780000" cy="1332000"/>
          </a:xfrm>
        </p:grpSpPr>
        <p:sp>
          <p:nvSpPr>
            <p:cNvPr id="28" name="Rectangle : coins arrondis 27">
              <a:extLst>
                <a:ext uri="{FF2B5EF4-FFF2-40B4-BE49-F238E27FC236}">
                  <a16:creationId xmlns:a16="http://schemas.microsoft.com/office/drawing/2014/main" id="{C6B37890-08DD-96EB-59EC-CFAE5575D3E5}"/>
                </a:ext>
              </a:extLst>
            </p:cNvPr>
            <p:cNvSpPr/>
            <p:nvPr/>
          </p:nvSpPr>
          <p:spPr>
            <a:xfrm>
              <a:off x="648000" y="2196000"/>
              <a:ext cx="3780000" cy="1080000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endParaRPr>
            </a:p>
          </p:txBody>
        </p:sp>
        <p:sp>
          <p:nvSpPr>
            <p:cNvPr id="29" name="Organigramme : Terminateur 28">
              <a:extLst>
                <a:ext uri="{FF2B5EF4-FFF2-40B4-BE49-F238E27FC236}">
                  <a16:creationId xmlns:a16="http://schemas.microsoft.com/office/drawing/2014/main" id="{B87D9F6C-1632-01E4-480B-407F5A63DD4A}"/>
                </a:ext>
              </a:extLst>
            </p:cNvPr>
            <p:cNvSpPr/>
            <p:nvPr/>
          </p:nvSpPr>
          <p:spPr>
            <a:xfrm>
              <a:off x="864000" y="1944000"/>
              <a:ext cx="1260000" cy="360000"/>
            </a:xfrm>
            <a:prstGeom prst="flowChartTerminator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</a:t>
              </a:r>
              <a:r>
                <a:rPr kumimoji="0" lang="fr-MA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 4 - </a:t>
              </a:r>
            </a:p>
          </p:txBody>
        </p:sp>
      </p:grpSp>
      <p:sp>
        <p:nvSpPr>
          <p:cNvPr id="30" name="Espace réservé du texte 25">
            <a:extLst>
              <a:ext uri="{FF2B5EF4-FFF2-40B4-BE49-F238E27FC236}">
                <a16:creationId xmlns:a16="http://schemas.microsoft.com/office/drawing/2014/main" id="{ECA8D43B-AB0F-7528-D9B6-BC3E1FED1511}"/>
              </a:ext>
            </a:extLst>
          </p:cNvPr>
          <p:cNvSpPr txBox="1">
            <a:spLocks/>
          </p:cNvSpPr>
          <p:nvPr/>
        </p:nvSpPr>
        <p:spPr>
          <a:xfrm>
            <a:off x="800611" y="2395288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fr-FR" sz="1200" kern="1200" smtClean="0">
                <a:solidFill>
                  <a:srgbClr val="75757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fr-FR" sz="1100" kern="1200" smtClean="0">
                <a:solidFill>
                  <a:srgbClr val="757575"/>
                </a:solidFill>
                <a:latin typeface="Dosis SemiBold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FR" sz="1100" kern="1200" smtClean="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FR" sz="1050" kern="1200" smtClean="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MA"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marR="0" lvl="0" indent="-266700" algn="r" defTabSz="914400" rtl="1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m"/>
              <a:tabLst/>
              <a:defRPr/>
            </a:pPr>
            <a:r>
              <a:rPr kumimoji="0" lang="a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نشاط اعتيادي (10د)</a:t>
            </a:r>
          </a:p>
          <a:p>
            <a:pPr marL="266700" marR="0" lvl="0" indent="-266700" algn="r" defTabSz="914400" rtl="1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m"/>
              <a:tabLst/>
              <a:defRPr/>
            </a:pPr>
            <a:r>
              <a:rPr kumimoji="0" lang="a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ورشة الكتابة: إنتاج كتابي – الحصة 3 (30د)</a:t>
            </a:r>
          </a:p>
          <a:p>
            <a:pPr marL="266700" marR="0" lvl="0" indent="-266700" algn="r" defTabSz="914400" rtl="1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m"/>
              <a:tabLst/>
              <a:defRPr/>
            </a:pPr>
            <a:r>
              <a:rPr kumimoji="0" lang="a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ورشة الكتابة : إنتاج كتابي – الحصة</a:t>
            </a:r>
            <a:r>
              <a:rPr lang="ar-MA" sz="1600" dirty="0">
                <a:latin typeface="Microsoft Uighur" panose="02000000000000000000" pitchFamily="2" charset="-78"/>
                <a:cs typeface="Microsoft Uighur" panose="02000000000000000000" pitchFamily="2" charset="-78"/>
              </a:rPr>
              <a:t> </a:t>
            </a:r>
            <a:r>
              <a:rPr kumimoji="0" lang="a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4 (30د)</a:t>
            </a:r>
          </a:p>
        </p:txBody>
      </p:sp>
      <p:sp>
        <p:nvSpPr>
          <p:cNvPr id="31" name="Espace réservé du texte 25">
            <a:extLst>
              <a:ext uri="{FF2B5EF4-FFF2-40B4-BE49-F238E27FC236}">
                <a16:creationId xmlns:a16="http://schemas.microsoft.com/office/drawing/2014/main" id="{2A11E91D-DD7F-4D68-6766-CCE041A224AC}"/>
              </a:ext>
            </a:extLst>
          </p:cNvPr>
          <p:cNvSpPr txBox="1">
            <a:spLocks/>
          </p:cNvSpPr>
          <p:nvPr/>
        </p:nvSpPr>
        <p:spPr>
          <a:xfrm>
            <a:off x="4909142" y="2395288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fr-FR" sz="1200" kern="1200" smtClean="0">
                <a:solidFill>
                  <a:srgbClr val="75757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fr-FR" sz="1100" kern="1200" smtClean="0">
                <a:solidFill>
                  <a:srgbClr val="757575"/>
                </a:solidFill>
                <a:latin typeface="Dosis SemiBold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FR" sz="1100" kern="1200" smtClean="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FR" sz="1050" kern="1200" smtClean="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MA"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marR="0" lvl="0" indent="-266700" algn="r" defTabSz="914400" rtl="1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m"/>
              <a:tabLst/>
              <a:defRPr/>
            </a:pPr>
            <a:r>
              <a:rPr kumimoji="0" lang="a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نشاط اعتيادي (10د)</a:t>
            </a:r>
          </a:p>
          <a:p>
            <a:pPr marL="266700" marR="0" lvl="0" indent="-266700" algn="r" defTabSz="914400" rtl="1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m"/>
              <a:tabLst/>
              <a:defRPr/>
            </a:pPr>
            <a:r>
              <a:rPr kumimoji="0" lang="a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</a:t>
            </a:r>
            <a:r>
              <a:rPr lang="ar-MA" sz="1600" dirty="0">
                <a:latin typeface="Microsoft Uighur" panose="02000000000000000000" pitchFamily="2" charset="-78"/>
                <a:cs typeface="Microsoft Uighur" panose="02000000000000000000" pitchFamily="2" charset="-78"/>
              </a:rPr>
              <a:t>أساليب</a:t>
            </a:r>
            <a:r>
              <a:rPr kumimoji="0" lang="a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(30د )</a:t>
            </a:r>
          </a:p>
          <a:p>
            <a:pPr marL="266700" marR="0" lvl="0" indent="-266700" algn="r" defTabSz="914400" rtl="1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m"/>
              <a:tabLst/>
              <a:defRPr/>
            </a:pPr>
            <a:r>
              <a:rPr kumimoji="0" lang="a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تحدث . (30د)</a:t>
            </a:r>
          </a:p>
        </p:txBody>
      </p:sp>
      <p:sp>
        <p:nvSpPr>
          <p:cNvPr id="32" name="Espace réservé du texte 25">
            <a:extLst>
              <a:ext uri="{FF2B5EF4-FFF2-40B4-BE49-F238E27FC236}">
                <a16:creationId xmlns:a16="http://schemas.microsoft.com/office/drawing/2014/main" id="{AAFE7851-E2D3-68F1-0F59-D7AEBD4371E4}"/>
              </a:ext>
            </a:extLst>
          </p:cNvPr>
          <p:cNvSpPr txBox="1">
            <a:spLocks/>
          </p:cNvSpPr>
          <p:nvPr/>
        </p:nvSpPr>
        <p:spPr>
          <a:xfrm>
            <a:off x="800611" y="3936813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fr-FR" sz="1200" kern="1200" smtClean="0">
                <a:solidFill>
                  <a:srgbClr val="75757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fr-FR" sz="1100" kern="1200" smtClean="0">
                <a:solidFill>
                  <a:srgbClr val="757575"/>
                </a:solidFill>
                <a:latin typeface="Dosis SemiBold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FR" sz="1100" kern="1200" smtClean="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FR" sz="1050" kern="1200" smtClean="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MA"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marR="0" lvl="0" indent="-266700" algn="r" defTabSz="914400" rtl="1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m"/>
              <a:tabLst/>
              <a:defRPr/>
            </a:pPr>
            <a:r>
              <a:rPr kumimoji="0" lang="a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نشاط اعتيادي (10د)</a:t>
            </a:r>
          </a:p>
          <a:p>
            <a:pPr marL="266700" marR="0" lvl="0" indent="-266700" algn="r" defTabSz="914400" rtl="1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m"/>
              <a:tabLst/>
              <a:defRPr/>
            </a:pPr>
            <a:r>
              <a:rPr kumimoji="0" lang="a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قراءة : ما بعد القراءة : تقويم المقروء(30د)</a:t>
            </a:r>
          </a:p>
          <a:p>
            <a:pPr marL="266700" marR="0" lvl="0" indent="-266700" algn="r" defTabSz="914400" rtl="1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m"/>
              <a:tabLst/>
              <a:defRPr/>
            </a:pPr>
            <a:r>
              <a:rPr kumimoji="0" lang="a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ورشة الكتابة : إنتاج كتابي الحصة 5 (30د)</a:t>
            </a:r>
          </a:p>
        </p:txBody>
      </p:sp>
      <p:sp>
        <p:nvSpPr>
          <p:cNvPr id="33" name="Espace réservé du texte 25">
            <a:extLst>
              <a:ext uri="{FF2B5EF4-FFF2-40B4-BE49-F238E27FC236}">
                <a16:creationId xmlns:a16="http://schemas.microsoft.com/office/drawing/2014/main" id="{F995977D-D080-F8DC-1765-C92BA2C1448F}"/>
              </a:ext>
            </a:extLst>
          </p:cNvPr>
          <p:cNvSpPr txBox="1">
            <a:spLocks/>
          </p:cNvSpPr>
          <p:nvPr/>
        </p:nvSpPr>
        <p:spPr>
          <a:xfrm>
            <a:off x="4909142" y="3936813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fr-FR" sz="1200" kern="1200" smtClean="0">
                <a:solidFill>
                  <a:srgbClr val="75757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fr-FR" sz="1100" kern="1200" smtClean="0">
                <a:solidFill>
                  <a:srgbClr val="757575"/>
                </a:solidFill>
                <a:latin typeface="Dosis SemiBold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FR" sz="1100" kern="1200" smtClean="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FR" sz="1050" kern="1200" smtClean="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MA"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marR="0" lvl="0" indent="-266700" algn="r" defTabSz="914400" rtl="1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m"/>
              <a:tabLst/>
              <a:defRPr/>
            </a:pPr>
            <a:r>
              <a:rPr kumimoji="0" lang="a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نشاط اعتيادي (10د)</a:t>
            </a:r>
          </a:p>
          <a:p>
            <a:pPr marL="266700" marR="0" lvl="0" indent="-266700" algn="r" defTabSz="914400" rtl="1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m"/>
              <a:tabLst/>
              <a:defRPr/>
            </a:pPr>
            <a:r>
              <a:rPr kumimoji="0" lang="a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قراءة : ما قبل القراءة: التوقع والتحقق 30 د</a:t>
            </a:r>
          </a:p>
          <a:p>
            <a:pPr marL="266700" marR="0" lvl="0" indent="-266700" algn="r" defTabSz="914400" rtl="1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m"/>
              <a:tabLst/>
              <a:defRPr/>
            </a:pPr>
            <a:r>
              <a:rPr kumimoji="0" lang="a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قراءة : أثناء القراءة – الفهم 30 د</a:t>
            </a:r>
          </a:p>
        </p:txBody>
      </p:sp>
      <p:sp>
        <p:nvSpPr>
          <p:cNvPr id="35" name="Espace réservé du texte 25">
            <a:extLst>
              <a:ext uri="{FF2B5EF4-FFF2-40B4-BE49-F238E27FC236}">
                <a16:creationId xmlns:a16="http://schemas.microsoft.com/office/drawing/2014/main" id="{3EF57EB2-92EA-D577-5182-804203EE8AEF}"/>
              </a:ext>
            </a:extLst>
          </p:cNvPr>
          <p:cNvSpPr txBox="1">
            <a:spLocks/>
          </p:cNvSpPr>
          <p:nvPr/>
        </p:nvSpPr>
        <p:spPr>
          <a:xfrm>
            <a:off x="4909142" y="5474576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fr-FR" sz="1200" kern="1200" smtClean="0">
                <a:solidFill>
                  <a:srgbClr val="75757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fr-FR" sz="1100" kern="1200" smtClean="0">
                <a:solidFill>
                  <a:srgbClr val="757575"/>
                </a:solidFill>
                <a:latin typeface="Dosis SemiBold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FR" sz="1100" kern="1200" smtClean="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FR" sz="1050" kern="1200" smtClean="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MA"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marR="0" lvl="0" indent="-266700" algn="r" defTabSz="914400" rtl="1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m"/>
              <a:tabLst/>
              <a:defRPr/>
            </a:pPr>
            <a:r>
              <a:rPr kumimoji="0" lang="a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1نشاط اعتيادي (10د)</a:t>
            </a:r>
          </a:p>
          <a:p>
            <a:pPr marL="266700" marR="0" lvl="0" indent="-266700" algn="r" defTabSz="914400" rtl="1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m"/>
              <a:tabLst/>
              <a:defRPr/>
            </a:pPr>
            <a:r>
              <a:rPr kumimoji="0" lang="a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قراءة : أثناء القراءة (30د)</a:t>
            </a:r>
          </a:p>
          <a:p>
            <a:pPr marL="266700" marR="0" lvl="0" indent="-266700" algn="r" defTabSz="914400" rtl="1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m"/>
              <a:tabLst/>
              <a:defRPr/>
            </a:pPr>
            <a:r>
              <a:rPr kumimoji="0" lang="a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ورشة الكتابة: التراكيب . (30د)</a:t>
            </a:r>
          </a:p>
        </p:txBody>
      </p:sp>
      <p:pic>
        <p:nvPicPr>
          <p:cNvPr id="2" name="Image 1" descr="Une image contenant Rectangle, conception&#10;&#10;Le contenu généré par l’IA peut être incorrect.">
            <a:extLst>
              <a:ext uri="{FF2B5EF4-FFF2-40B4-BE49-F238E27FC236}">
                <a16:creationId xmlns:a16="http://schemas.microsoft.com/office/drawing/2014/main" id="{B394A7D7-EDA0-D582-42DC-F0D1DB6E2F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77229" y="4993276"/>
            <a:ext cx="3831420" cy="1362012"/>
          </a:xfrm>
          <a:prstGeom prst="rect">
            <a:avLst/>
          </a:prstGeom>
        </p:spPr>
      </p:pic>
      <p:sp>
        <p:nvSpPr>
          <p:cNvPr id="3" name="Espace réservé du texte 5">
            <a:extLst>
              <a:ext uri="{FF2B5EF4-FFF2-40B4-BE49-F238E27FC236}">
                <a16:creationId xmlns:a16="http://schemas.microsoft.com/office/drawing/2014/main" id="{BA90E6FB-8CC9-826B-0174-4723655A6D27}"/>
              </a:ext>
            </a:extLst>
          </p:cNvPr>
          <p:cNvSpPr txBox="1">
            <a:spLocks/>
          </p:cNvSpPr>
          <p:nvPr/>
        </p:nvSpPr>
        <p:spPr>
          <a:xfrm>
            <a:off x="757652" y="5462453"/>
            <a:ext cx="3420000" cy="792000"/>
          </a:xfrm>
          <a:prstGeom prst="roundRect">
            <a:avLst/>
          </a:prstGeom>
          <a:noFill/>
        </p:spPr>
        <p:txBody>
          <a:bodyPr anchor="ctr"/>
          <a:lstStyle>
            <a:lvl1pPr marL="269875" indent="-269875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"/>
              <a:defRPr sz="120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  <a:sym typeface="Wingdings" panose="05000000000000000000" pitchFamily="2" charset="2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10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9875" marR="0" lvl="0" indent="-269875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24D7B"/>
              </a:buClr>
              <a:buSzTx/>
              <a:buFont typeface="Wingdings" panose="05000000000000000000" pitchFamily="2" charset="2"/>
              <a:buChar char=""/>
              <a:tabLst/>
              <a:defRPr/>
            </a:pPr>
            <a:r>
              <a:rPr kumimoji="0" lang="ar-MA" sz="1600" b="0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  <a:sym typeface="Wingdings" panose="05000000000000000000" pitchFamily="2" charset="2"/>
              </a:rPr>
              <a:t>نشاط اعتيادي (10د)</a:t>
            </a:r>
          </a:p>
          <a:p>
            <a:pPr marL="269875" marR="0" lvl="0" indent="-269875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24D7B"/>
              </a:buClr>
              <a:buSzTx/>
              <a:buFont typeface="Wingdings" panose="05000000000000000000" pitchFamily="2" charset="2"/>
              <a:buChar char=""/>
              <a:tabLst/>
              <a:defRPr/>
            </a:pPr>
            <a:r>
              <a:rPr kumimoji="0" lang="ar-MA" sz="1600" b="0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  <a:sym typeface="Wingdings" panose="05000000000000000000" pitchFamily="2" charset="2"/>
              </a:rPr>
              <a:t>مراجعة توليف (شكل وفهم) (40د)</a:t>
            </a:r>
          </a:p>
          <a:p>
            <a:pPr marL="269875" marR="0" lvl="0" indent="-269875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24D7B"/>
              </a:buClr>
              <a:buSzTx/>
              <a:buFont typeface="Wingdings" panose="05000000000000000000" pitchFamily="2" charset="2"/>
              <a:buChar char=""/>
              <a:tabLst/>
              <a:defRPr/>
            </a:pPr>
            <a:r>
              <a:rPr kumimoji="0" lang="ar-MA" sz="1600" b="0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  <a:sym typeface="Wingdings" panose="05000000000000000000" pitchFamily="2" charset="2"/>
              </a:rPr>
              <a:t>القراءة الاثرائية : الحصة 4 (20د)</a:t>
            </a:r>
          </a:p>
        </p:txBody>
      </p:sp>
      <p:sp>
        <p:nvSpPr>
          <p:cNvPr id="4" name="Organigramme : Terminateur 3">
            <a:extLst>
              <a:ext uri="{FF2B5EF4-FFF2-40B4-BE49-F238E27FC236}">
                <a16:creationId xmlns:a16="http://schemas.microsoft.com/office/drawing/2014/main" id="{427005E6-B6B9-7A50-B0EB-9D0ED6690F1B}"/>
              </a:ext>
            </a:extLst>
          </p:cNvPr>
          <p:cNvSpPr/>
          <p:nvPr/>
        </p:nvSpPr>
        <p:spPr>
          <a:xfrm>
            <a:off x="2917910" y="4993276"/>
            <a:ext cx="1260000" cy="360000"/>
          </a:xfrm>
          <a:prstGeom prst="flowChartTerminator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يوم</a:t>
            </a:r>
            <a:r>
              <a:rPr kumimoji="0" lang="fr-MA" sz="20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6</a:t>
            </a: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474F71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474F71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72531505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22" presetClass="entr" presetSubtype="2" fill="hold" grpId="0" nodeType="after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3B314F-4F40-E742-3A9F-FCF289F7DF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id="{CE3B9B90-8B00-78CE-5EFC-3159A4D8F8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lang="ar-MA" sz="2400" b="1" dirty="0">
                <a:solidFill>
                  <a:schemeClr val="bg1">
                    <a:lumMod val="50000"/>
                  </a:scheme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نصحح السؤال السادس. من يجيب؟</a:t>
            </a:r>
          </a:p>
        </p:txBody>
      </p:sp>
      <p:pic>
        <p:nvPicPr>
          <p:cNvPr id="13" name="Espace réservé pour une image  14">
            <a:extLst>
              <a:ext uri="{FF2B5EF4-FFF2-40B4-BE49-F238E27FC236}">
                <a16:creationId xmlns:a16="http://schemas.microsoft.com/office/drawing/2014/main" id="{E28EDE97-853B-00CC-A06C-55FA41AD0EAC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5047F9AC-F10F-2DFE-26B2-56151CEF7E2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45169" y="2053471"/>
            <a:ext cx="8229600" cy="3854034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40EBC4A3-6C54-5BA3-3329-0094CC712319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79E94E26-2AF7-0885-C090-7BE66EFC6CC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62B983DD-727B-52BA-987A-FBC1BC06A44A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972DF6F8-EF6B-A521-9139-BDC6555FCAC5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746E56D9-8D45-EA07-BE9C-C006D0D3086D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فتتاح الحصة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171B6D8-1979-1F07-6718-62E7E26068AB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73BF5C3-339F-F595-6F18-1947E3B258CE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4C2F99C-6F20-F28E-44DF-9E10F34EBA5E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قراءة الإثرائية</a:t>
            </a:r>
          </a:p>
        </p:txBody>
      </p:sp>
    </p:spTree>
    <p:extLst>
      <p:ext uri="{BB962C8B-B14F-4D97-AF65-F5344CB8AC3E}">
        <p14:creationId xmlns:p14="http://schemas.microsoft.com/office/powerpoint/2010/main" val="2227219990"/>
      </p:ext>
    </p:extLst>
  </p:cSld>
  <p:clrMapOvr>
    <a:masterClrMapping/>
  </p:clrMapOvr>
  <p:transition spd="slow">
    <p:fade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65DAB5-7C90-04C8-AE00-F6F2FBC754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id="{FEE6A32F-5B63-0284-5A0A-C665BC6A99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lang="ar-MA" sz="2400" b="1" dirty="0">
                <a:solidFill>
                  <a:schemeClr val="bg1">
                    <a:lumMod val="50000"/>
                  </a:scheme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صححوا.</a:t>
            </a:r>
          </a:p>
        </p:txBody>
      </p:sp>
      <p:pic>
        <p:nvPicPr>
          <p:cNvPr id="13" name="Espace réservé pour une image  14">
            <a:extLst>
              <a:ext uri="{FF2B5EF4-FFF2-40B4-BE49-F238E27FC236}">
                <a16:creationId xmlns:a16="http://schemas.microsoft.com/office/drawing/2014/main" id="{BA2BD374-957D-3DDB-8B3C-D912433A4761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5B05AF75-219D-E3B3-4286-D125FF136C8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45169" y="2053471"/>
            <a:ext cx="8229600" cy="3854034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1A22B054-79CF-F630-2C10-87C51B42C5B4}"/>
              </a:ext>
            </a:extLst>
          </p:cNvPr>
          <p:cNvSpPr txBox="1"/>
          <p:nvPr/>
        </p:nvSpPr>
        <p:spPr>
          <a:xfrm>
            <a:off x="431068" y="2710249"/>
            <a:ext cx="7667153" cy="8309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8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عاشَتْ بَيْنَ أَفْرادِ أُسْرَتِها.</a:t>
            </a:r>
            <a:endParaRPr kumimoji="0" lang="fr-FR" sz="48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3DED891F-FF67-595F-E403-0AB88BA1CF32}"/>
              </a:ext>
            </a:extLst>
          </p:cNvPr>
          <p:cNvSpPr txBox="1"/>
          <p:nvPr/>
        </p:nvSpPr>
        <p:spPr>
          <a:xfrm>
            <a:off x="431068" y="3460130"/>
            <a:ext cx="7578150" cy="8309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8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عِشْنا بَيْنَ أَفْرادِ أُسَرِنا.</a:t>
            </a:r>
            <a:endParaRPr kumimoji="0" lang="fr-FR" sz="48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DCA15ACA-3BE6-67B2-D369-87A80A84A0B2}"/>
              </a:ext>
            </a:extLst>
          </p:cNvPr>
          <p:cNvSpPr txBox="1"/>
          <p:nvPr/>
        </p:nvSpPr>
        <p:spPr>
          <a:xfrm>
            <a:off x="380229" y="4198024"/>
            <a:ext cx="7717992" cy="8309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8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عِشْتُمْ بَيْنَ أَفْرادِ أُسَرِكُمْ.</a:t>
            </a:r>
            <a:endParaRPr kumimoji="0" lang="fr-FR" sz="48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D72F7414-BFE1-81B3-A2DD-DF4EC8699485}"/>
              </a:ext>
            </a:extLst>
          </p:cNvPr>
          <p:cNvSpPr txBox="1"/>
          <p:nvPr/>
        </p:nvSpPr>
        <p:spPr>
          <a:xfrm>
            <a:off x="380228" y="4976598"/>
            <a:ext cx="7717992" cy="8309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8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عِشْتُنَّ بَيْنَ أَفْرادِ أُسَرِكُنَّ</a:t>
            </a:r>
            <a:r>
              <a:rPr lang="ar-MA" sz="4800" b="1" kern="0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.</a:t>
            </a:r>
            <a:endParaRPr kumimoji="0" lang="fr-FR" sz="48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214C7DB6-6357-44E0-8CB5-18015A6D94D1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0FF0DB7B-A289-7260-C439-86C8A1440D8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BF4940D2-D9AC-867C-70D4-9B6510A29FC0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8B8442D2-B75D-591C-60EE-FB01223B7322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4A1127AF-92A1-53FE-6660-CE9626980573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فتتاح الحصة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6221226-0CCD-51A3-F70F-E45157B73D24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453D254-B6F3-6D3A-B039-A7B6F32DFE5A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3028625-BFE1-7C32-8A3D-AE27A80E7612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قراءة الإثرائية</a:t>
            </a:r>
          </a:p>
        </p:txBody>
      </p:sp>
    </p:spTree>
    <p:extLst>
      <p:ext uri="{BB962C8B-B14F-4D97-AF65-F5344CB8AC3E}">
        <p14:creationId xmlns:p14="http://schemas.microsoft.com/office/powerpoint/2010/main" val="3007673864"/>
      </p:ext>
    </p:extLst>
  </p:cSld>
  <p:clrMapOvr>
    <a:masterClrMapping/>
  </p:clrMapOvr>
  <p:transition spd="slow">
    <p:fade/>
  </p:transition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1CF985-FD44-284B-1EF4-455AC5E64F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Image 27">
            <a:extLst>
              <a:ext uri="{FF2B5EF4-FFF2-40B4-BE49-F238E27FC236}">
                <a16:creationId xmlns:a16="http://schemas.microsoft.com/office/drawing/2014/main" id="{BD78FFDB-B479-91B6-318E-6F279EADDF0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495" t="10740" r="-4368" b="1155"/>
          <a:stretch>
            <a:fillRect/>
          </a:stretch>
        </p:blipFill>
        <p:spPr>
          <a:xfrm>
            <a:off x="678137" y="1807373"/>
            <a:ext cx="7789894" cy="4824000"/>
          </a:xfrm>
          <a:prstGeom prst="rect">
            <a:avLst/>
          </a:prstGeom>
        </p:spPr>
      </p:pic>
      <p:pic>
        <p:nvPicPr>
          <p:cNvPr id="31" name="Image 30">
            <a:extLst>
              <a:ext uri="{FF2B5EF4-FFF2-40B4-BE49-F238E27FC236}">
                <a16:creationId xmlns:a16="http://schemas.microsoft.com/office/drawing/2014/main" id="{EF3FC7D3-16E7-32AB-47D1-DFBED1F025E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125259" y="1983798"/>
            <a:ext cx="799263" cy="792000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71F05B45-4F3B-4AC0-FD76-415805DB6A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812399"/>
            <a:ext cx="7886700" cy="720000"/>
          </a:xfrm>
        </p:spPr>
        <p:txBody>
          <a:bodyPr/>
          <a:lstStyle/>
          <a:p>
            <a:pPr lvl="0">
              <a:defRPr/>
            </a:pPr>
            <a:r>
              <a:rPr lang="ar-MA" dirty="0">
                <a:solidFill>
                  <a:srgbClr val="424D7B"/>
                </a:solidFill>
              </a:rPr>
              <a:t>ورشة القراءة – القراءة الاثرائية</a:t>
            </a:r>
          </a:p>
        </p:txBody>
      </p:sp>
      <p:sp>
        <p:nvSpPr>
          <p:cNvPr id="5" name="Espace réservé du texte 5">
            <a:extLst>
              <a:ext uri="{FF2B5EF4-FFF2-40B4-BE49-F238E27FC236}">
                <a16:creationId xmlns:a16="http://schemas.microsoft.com/office/drawing/2014/main" id="{1C85B691-E8E6-CBFE-8F93-727DFAC3558A}"/>
              </a:ext>
            </a:extLst>
          </p:cNvPr>
          <p:cNvSpPr txBox="1">
            <a:spLocks/>
          </p:cNvSpPr>
          <p:nvPr/>
        </p:nvSpPr>
        <p:spPr>
          <a:xfrm>
            <a:off x="2160550" y="2756078"/>
            <a:ext cx="4964709" cy="540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 kern="1200">
                <a:solidFill>
                  <a:srgbClr val="757575"/>
                </a:solidFill>
                <a:latin typeface="Dosis SemiBold" pitchFamily="2" charset="0"/>
                <a:ea typeface="+mn-ea"/>
                <a:cs typeface="+mn-cs"/>
              </a:defRPr>
            </a:lvl1pPr>
            <a:lvl2pPr marL="685800" indent="-2286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 kern="1200">
                <a:solidFill>
                  <a:srgbClr val="757575"/>
                </a:solidFill>
                <a:latin typeface="Dosis SemiBold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marR="0" lvl="0" indent="-266700" algn="r" defTabSz="914400" rtl="1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24D7B"/>
              </a:buClr>
              <a:buSzPct val="50000"/>
              <a:buFont typeface="Wingdings" panose="05000000000000000000" pitchFamily="2" charset="2"/>
              <a:buChar char="l"/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Dosis SemiBold" pitchFamily="2" charset="0"/>
                <a:ea typeface="+mn-ea"/>
                <a:cs typeface="Microsoft Uighur" panose="02000000000000000000" pitchFamily="2" charset="-78"/>
              </a:rPr>
              <a:t>الصحن الصغير – إعادة تركيب عناصر القصة.</a:t>
            </a:r>
          </a:p>
        </p:txBody>
      </p:sp>
      <p:pic>
        <p:nvPicPr>
          <p:cNvPr id="6" name="Espace réservé pour une image  20">
            <a:extLst>
              <a:ext uri="{FF2B5EF4-FFF2-40B4-BE49-F238E27FC236}">
                <a16:creationId xmlns:a16="http://schemas.microsoft.com/office/drawing/2014/main" id="{AED3BA7B-63D1-DAEB-A7B7-16C6E10F855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560" r="-7560"/>
          <a:stretch>
            <a:fillRect/>
          </a:stretch>
        </p:blipFill>
        <p:spPr>
          <a:xfrm>
            <a:off x="903951" y="1756564"/>
            <a:ext cx="540000" cy="540000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CBC60C81-D7D7-2EAD-6045-0B3B679B5792}"/>
              </a:ext>
            </a:extLst>
          </p:cNvPr>
          <p:cNvSpPr txBox="1"/>
          <p:nvPr/>
        </p:nvSpPr>
        <p:spPr>
          <a:xfrm>
            <a:off x="3903631" y="1807822"/>
            <a:ext cx="332879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   </a:t>
            </a:r>
            <a:r>
              <a:rPr lang="ar-MA" sz="3200" b="1" dirty="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القراءة الإثرائية </a:t>
            </a:r>
            <a:r>
              <a:rPr kumimoji="0" lang="ar-MA" sz="32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– الحصة 4 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975FDFD7-C2D2-8623-B22B-A793825C802F}"/>
              </a:ext>
            </a:extLst>
          </p:cNvPr>
          <p:cNvSpPr/>
          <p:nvPr/>
        </p:nvSpPr>
        <p:spPr>
          <a:xfrm>
            <a:off x="6372403" y="963974"/>
            <a:ext cx="404317" cy="404317"/>
          </a:xfrm>
          <a:prstGeom prst="ellipse">
            <a:avLst/>
          </a:prstGeom>
          <a:solidFill>
            <a:srgbClr val="00ACA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Microsoft Uighur" panose="02000000000000000000" pitchFamily="2" charset="-78"/>
                <a:cs typeface="Microsoft Uighur" panose="02000000000000000000" pitchFamily="2" charset="-78"/>
              </a:rPr>
              <a:t>3</a:t>
            </a:r>
            <a:endParaRPr lang="fr-MA" sz="3200" dirty="0"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42776556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B7ACAF-A68C-4C03-DF04-C9211C511C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54319FB4-DF06-0E23-9F31-47A24DE657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اليوم سنعيد سرد قصة الصحن الصغير بأسلوبنا الخاص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C41FC96C-5225-A586-CE19-E8C100F9059A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B6218F91-16A4-8551-EB87-3B790C635AB7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D58342D9-EE81-F25D-5841-F338DA7FEBF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941E5396-2AA7-46B9-500D-4B739C7046A2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A63E2E30-72A2-E844-7BC6-D1457F1F02BE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فتتاح الحصة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60C99C2-D9E2-0727-80AA-5200934B9F2A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EBA1C81-A5BD-46F4-2E74-7C2BE3751FAD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9F6926D-BFDE-B878-97D5-43274511096D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14" name="Espace réservé pour une image  14">
            <a:extLst>
              <a:ext uri="{FF2B5EF4-FFF2-40B4-BE49-F238E27FC236}">
                <a16:creationId xmlns:a16="http://schemas.microsoft.com/office/drawing/2014/main" id="{757DB0B5-40DA-5904-2710-BEAC17574FF1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659CC78B-E143-C095-6D09-8EF81B18FD9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36875" y="2207650"/>
            <a:ext cx="3337362" cy="364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886589"/>
      </p:ext>
    </p:extLst>
  </p:cSld>
  <p:clrMapOvr>
    <a:masterClrMapping/>
  </p:clrMapOvr>
  <p:transition spd="slow">
    <p:fade/>
  </p:transition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42F730-3CC8-4026-E162-97F7DB4F3E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re 17">
            <a:extLst>
              <a:ext uri="{FF2B5EF4-FFF2-40B4-BE49-F238E27FC236}">
                <a16:creationId xmlns:a16="http://schemas.microsoft.com/office/drawing/2014/main" id="{DBED1190-5BF5-DAF9-8D61-86DEACEFAE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خذوا </a:t>
            </a:r>
            <a:r>
              <a:rPr lang="ar-MA" sz="2400" b="1" dirty="0">
                <a:solidFill>
                  <a:schemeClr val="bg1">
                    <a:lumMod val="50000"/>
                  </a:scheme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ج</a:t>
            </a: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دادة القراءة التي قمتم بتعبئتها خلال الحصص الماضية.</a:t>
            </a:r>
          </a:p>
        </p:txBody>
      </p:sp>
      <p:pic>
        <p:nvPicPr>
          <p:cNvPr id="14" name="Espace réservé pour une image  14">
            <a:extLst>
              <a:ext uri="{FF2B5EF4-FFF2-40B4-BE49-F238E27FC236}">
                <a16:creationId xmlns:a16="http://schemas.microsoft.com/office/drawing/2014/main" id="{3F9EBD33-2B5A-A1D5-CD62-03D9A804922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graphicFrame>
        <p:nvGraphicFramePr>
          <p:cNvPr id="11" name="Tableau 10">
            <a:extLst>
              <a:ext uri="{FF2B5EF4-FFF2-40B4-BE49-F238E27FC236}">
                <a16:creationId xmlns:a16="http://schemas.microsoft.com/office/drawing/2014/main" id="{643767F4-D284-C28C-4B04-1B93E49A63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3544204"/>
              </p:ext>
            </p:extLst>
          </p:nvPr>
        </p:nvGraphicFramePr>
        <p:xfrm>
          <a:off x="511686" y="1892666"/>
          <a:ext cx="8120628" cy="4704956"/>
        </p:xfrm>
        <a:graphic>
          <a:graphicData uri="http://schemas.openxmlformats.org/drawingml/2006/table">
            <a:tbl>
              <a:tblPr firstRow="1" firstCol="1" bandRow="1"/>
              <a:tblGrid>
                <a:gridCol w="5819061">
                  <a:extLst>
                    <a:ext uri="{9D8B030D-6E8A-4147-A177-3AD203B41FA5}">
                      <a16:colId xmlns:a16="http://schemas.microsoft.com/office/drawing/2014/main" val="955859640"/>
                    </a:ext>
                  </a:extLst>
                </a:gridCol>
                <a:gridCol w="2301567">
                  <a:extLst>
                    <a:ext uri="{9D8B030D-6E8A-4147-A177-3AD203B41FA5}">
                      <a16:colId xmlns:a16="http://schemas.microsoft.com/office/drawing/2014/main" val="2781370982"/>
                    </a:ext>
                  </a:extLst>
                </a:gridCol>
              </a:tblGrid>
              <a:tr h="470737">
                <a:tc gridSpan="2">
                  <a:txBody>
                    <a:bodyPr/>
                    <a:lstStyle>
                      <a:lvl1pPr marL="0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57169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514337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771506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028675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285843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543011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800180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057349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ar-MA" sz="2400" b="1" kern="1200" dirty="0">
                          <a:solidFill>
                            <a:schemeClr val="bg1"/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عُنْوانُ </a:t>
                      </a:r>
                      <a:r>
                        <a:rPr lang="ar-MA" sz="2400" b="1" kern="1200" dirty="0" err="1">
                          <a:solidFill>
                            <a:schemeClr val="bg1"/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ﭐلْقِصَّةِ</a:t>
                      </a:r>
                      <a:r>
                        <a:rPr lang="ar-MA" sz="2400" b="1" kern="1200" dirty="0">
                          <a:solidFill>
                            <a:schemeClr val="bg1"/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: .............................</a:t>
                      </a:r>
                      <a:endParaRPr lang="fr-MA" sz="2400" b="1" kern="1200" dirty="0">
                        <a:solidFill>
                          <a:schemeClr val="bg1"/>
                        </a:solidFill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</a:endParaRPr>
                    </a:p>
                  </a:txBody>
                  <a:tcPr marL="37924" marR="37924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4D7C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fr-MA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924" marR="37924" marT="0" marB="0" anchor="ctr"/>
                </a:tc>
                <a:extLst>
                  <a:ext uri="{0D108BD9-81ED-4DB2-BD59-A6C34878D82A}">
                    <a16:rowId xmlns:a16="http://schemas.microsoft.com/office/drawing/2014/main" val="553819832"/>
                  </a:ext>
                </a:extLst>
              </a:tr>
              <a:tr h="415363">
                <a:tc gridSpan="2">
                  <a:txBody>
                    <a:bodyPr/>
                    <a:lstStyle>
                      <a:lvl1pPr marL="0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57169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514337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771506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028675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285843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543011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800180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057349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ar-M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اَلْجُزْءُ </a:t>
                      </a:r>
                      <a:r>
                        <a:rPr lang="ar-MA" sz="2400" b="1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ﭐلْأَوَّلُ</a:t>
                      </a:r>
                      <a:r>
                        <a:rPr lang="ar-M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  </a:t>
                      </a:r>
                      <a:endParaRPr lang="fr-MA" sz="2400" b="1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</a:endParaRPr>
                    </a:p>
                  </a:txBody>
                  <a:tcPr marL="37924" marR="37924" marT="0" marB="0" anchor="ctr">
                    <a:lnL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9FE"/>
                    </a:solidFill>
                  </a:tcPr>
                </a:tc>
                <a:tc hMerge="1">
                  <a:txBody>
                    <a:bodyPr/>
                    <a:lstStyle>
                      <a:lvl1pPr marL="0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57169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514337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771506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028675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285843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543011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800180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057349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dirty="0"/>
                    </a:p>
                  </a:txBody>
                  <a:tcPr marL="37924" marR="37924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7702333"/>
                  </a:ext>
                </a:extLst>
              </a:tr>
              <a:tr h="954714">
                <a:tc>
                  <a:txBody>
                    <a:bodyPr/>
                    <a:lstStyle>
                      <a:lvl1pPr marL="0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57169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514337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771506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028675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285843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543011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800180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057349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1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r-MA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24D7C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..................................................................................................................................................................................................................................</a:t>
                      </a:r>
                      <a:endParaRPr kumimoji="0" lang="fr-MA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24D7C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</a:endParaRPr>
                    </a:p>
                  </a:txBody>
                  <a:tcPr marL="37924" marR="37924" marT="0" marB="0" anchor="ctr">
                    <a:lnL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57169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514337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771506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028675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285843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543011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800180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057349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ar-S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أ</a:t>
                      </a:r>
                      <a:r>
                        <a:rPr lang="ar-M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َ</a:t>
                      </a:r>
                      <a:r>
                        <a:rPr lang="ar-S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ف</a:t>
                      </a:r>
                      <a:r>
                        <a:rPr lang="ar-M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ْ</a:t>
                      </a:r>
                      <a:r>
                        <a:rPr lang="ar-S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كار</a:t>
                      </a:r>
                      <a:r>
                        <a:rPr lang="ar-M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ُ</a:t>
                      </a:r>
                      <a:r>
                        <a:rPr lang="ar-S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 </a:t>
                      </a:r>
                      <a:r>
                        <a:rPr lang="ar-SA" sz="2400" b="1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ﭐل</a:t>
                      </a:r>
                      <a:r>
                        <a:rPr lang="ar-M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ْ</a:t>
                      </a:r>
                      <a:r>
                        <a:rPr lang="ar-S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ج</a:t>
                      </a:r>
                      <a:r>
                        <a:rPr lang="ar-M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ُ</a:t>
                      </a:r>
                      <a:r>
                        <a:rPr lang="ar-S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ز</a:t>
                      </a:r>
                      <a:r>
                        <a:rPr lang="ar-M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ْ</a:t>
                      </a:r>
                      <a:r>
                        <a:rPr lang="ar-S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ء</a:t>
                      </a:r>
                      <a:r>
                        <a:rPr lang="ar-M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ِ</a:t>
                      </a:r>
                      <a:endParaRPr lang="fr-MA" sz="2400" b="1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</a:endParaRPr>
                    </a:p>
                  </a:txBody>
                  <a:tcPr marL="37924" marR="37924" marT="0" marB="0" anchor="ctr">
                    <a:lnL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9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4090607"/>
                  </a:ext>
                </a:extLst>
              </a:tr>
              <a:tr h="954714">
                <a:tc>
                  <a:txBody>
                    <a:bodyPr/>
                    <a:lstStyle>
                      <a:lvl1pPr marL="0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57169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514337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771506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028675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285843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543011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800180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057349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1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r-MA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24D7C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..................................................................................................................................................................................................................................</a:t>
                      </a:r>
                      <a:endParaRPr kumimoji="0" lang="fr-MA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24D7C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</a:endParaRPr>
                    </a:p>
                  </a:txBody>
                  <a:tcPr marL="37924" marR="37924" marT="0" marB="0" anchor="ctr">
                    <a:lnL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57169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514337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771506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028675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285843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543011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800180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057349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ar-M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مَعْلوماتٌ جَديدَةٌ وَتَعابيرُ جَميلَةٌ </a:t>
                      </a:r>
                      <a:endParaRPr lang="fr-MA" sz="2400" b="1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</a:endParaRPr>
                    </a:p>
                  </a:txBody>
                  <a:tcPr marL="37924" marR="37924" marT="0" marB="0" anchor="ctr">
                    <a:lnL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9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5686766"/>
                  </a:ext>
                </a:extLst>
              </a:tr>
              <a:tr h="954714">
                <a:tc>
                  <a:txBody>
                    <a:bodyPr/>
                    <a:lstStyle>
                      <a:lvl1pPr marL="0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57169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514337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771506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028675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285843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543011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800180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057349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1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r-MA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24D7C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..................................................................................................................................................................................................................................</a:t>
                      </a:r>
                      <a:endParaRPr kumimoji="0" lang="fr-MA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24D7C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</a:endParaRPr>
                    </a:p>
                  </a:txBody>
                  <a:tcPr marL="37924" marR="37924" marT="0" marB="0" anchor="ctr">
                    <a:lnL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57169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514337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771506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028675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285843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543011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800180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057349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ar-M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مُلَخَّصُ </a:t>
                      </a:r>
                      <a:r>
                        <a:rPr lang="ar-MA" sz="2400" b="1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ﭐلْجُزْءِ</a:t>
                      </a:r>
                      <a:r>
                        <a:rPr lang="ar-M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 </a:t>
                      </a:r>
                      <a:endParaRPr lang="fr-MA" sz="2400" b="1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</a:endParaRPr>
                    </a:p>
                  </a:txBody>
                  <a:tcPr marL="37924" marR="37924" marT="0" marB="0" anchor="ctr">
                    <a:lnL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9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7021215"/>
                  </a:ext>
                </a:extLst>
              </a:tr>
              <a:tr h="954714">
                <a:tc>
                  <a:txBody>
                    <a:bodyPr/>
                    <a:lstStyle>
                      <a:lvl1pPr marL="0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57169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514337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771506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028675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285843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543011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800180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057349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1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r-MA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24D7C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..................................................................................................................................................................................................................................</a:t>
                      </a:r>
                      <a:endParaRPr kumimoji="0" lang="fr-MA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24D7C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</a:endParaRPr>
                    </a:p>
                  </a:txBody>
                  <a:tcPr marL="37924" marR="37924" marT="0" marB="0" anchor="ctr">
                    <a:lnL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57169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514337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771506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028675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285843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543011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800180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057349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ar-M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مُعْجَمي </a:t>
                      </a:r>
                      <a:r>
                        <a:rPr lang="ar-MA" sz="2400" b="1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ﭐلْجَديدُ</a:t>
                      </a:r>
                      <a:endParaRPr lang="fr-MA" sz="2400" b="1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</a:endParaRPr>
                    </a:p>
                  </a:txBody>
                  <a:tcPr marL="37924" marR="37924" marT="0" marB="0" anchor="ctr">
                    <a:lnL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9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6641313"/>
                  </a:ext>
                </a:extLst>
              </a:tr>
            </a:tbl>
          </a:graphicData>
        </a:graphic>
      </p:graphicFrame>
      <p:pic>
        <p:nvPicPr>
          <p:cNvPr id="7" name="Image 6">
            <a:extLst>
              <a:ext uri="{FF2B5EF4-FFF2-40B4-BE49-F238E27FC236}">
                <a16:creationId xmlns:a16="http://schemas.microsoft.com/office/drawing/2014/main" id="{0C5E4F10-9E3B-25D2-5AD4-2A599F51ABD2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764855A3-522B-6183-D796-2AE018CD76D7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BAE0D2FB-E1CE-0299-995C-BE2E4CAFCF7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F4BF9A10-1926-843A-DE06-24645AA357D5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46441646-D633-0D94-6D4F-B27AF60A50F8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فتتاح الحصة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C3F4227-8E29-834E-D7AD-6548DB30E72D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8E6D957-7CE0-6B7D-2D00-1F8557D85FF0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C70CECE-2B2D-5D0B-D2BF-873F89DCB61F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قراءة الإثرائية</a:t>
            </a:r>
          </a:p>
        </p:txBody>
      </p:sp>
    </p:spTree>
    <p:extLst>
      <p:ext uri="{BB962C8B-B14F-4D97-AF65-F5344CB8AC3E}">
        <p14:creationId xmlns:p14="http://schemas.microsoft.com/office/powerpoint/2010/main" val="139543509"/>
      </p:ext>
    </p:extLst>
  </p:cSld>
  <p:clrMapOvr>
    <a:masterClrMapping/>
  </p:clrMapOvr>
  <p:transition spd="slow">
    <p:fade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92C19B-C0CF-C796-52F9-5EBE942719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re 17">
            <a:extLst>
              <a:ext uri="{FF2B5EF4-FFF2-40B4-BE49-F238E27FC236}">
                <a16:creationId xmlns:a16="http://schemas.microsoft.com/office/drawing/2014/main" id="{72E2FD8A-7651-7766-2CAE-72DCFEE873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من يذكرنا بأهم أحداثها.</a:t>
            </a:r>
          </a:p>
        </p:txBody>
      </p:sp>
      <p:pic>
        <p:nvPicPr>
          <p:cNvPr id="14" name="Espace réservé pour une image  14">
            <a:extLst>
              <a:ext uri="{FF2B5EF4-FFF2-40B4-BE49-F238E27FC236}">
                <a16:creationId xmlns:a16="http://schemas.microsoft.com/office/drawing/2014/main" id="{11C31609-83FB-4861-68CC-485CC1B64F56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3721EE43-895E-B136-12D0-A69591912793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21A7F116-F5D0-CAAC-7370-68C7E9445B2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34E206E0-DA61-194D-5890-431834B588D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2DFBEF6F-C644-7414-903A-F6C9F455E934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5DA07496-30EE-0DF4-690D-8B88EE9CA84D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فتتاح الحصة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B43C263-E871-6547-AC9A-F397925F2329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D392D14-E8C5-E175-FF1D-8320BEEE1F6C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FAD6586-27E5-9E62-BEBC-1CF24F9C0220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قراءة الإثرائية</a:t>
            </a:r>
          </a:p>
        </p:txBody>
      </p:sp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CFF2F994-8B70-7B62-07B5-49F4F1AC16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3872982"/>
              </p:ext>
            </p:extLst>
          </p:nvPr>
        </p:nvGraphicFramePr>
        <p:xfrm>
          <a:off x="511686" y="1892666"/>
          <a:ext cx="8120628" cy="4704956"/>
        </p:xfrm>
        <a:graphic>
          <a:graphicData uri="http://schemas.openxmlformats.org/drawingml/2006/table">
            <a:tbl>
              <a:tblPr firstRow="1" firstCol="1" bandRow="1"/>
              <a:tblGrid>
                <a:gridCol w="5819061">
                  <a:extLst>
                    <a:ext uri="{9D8B030D-6E8A-4147-A177-3AD203B41FA5}">
                      <a16:colId xmlns:a16="http://schemas.microsoft.com/office/drawing/2014/main" val="955859640"/>
                    </a:ext>
                  </a:extLst>
                </a:gridCol>
                <a:gridCol w="2301567">
                  <a:extLst>
                    <a:ext uri="{9D8B030D-6E8A-4147-A177-3AD203B41FA5}">
                      <a16:colId xmlns:a16="http://schemas.microsoft.com/office/drawing/2014/main" val="2781370982"/>
                    </a:ext>
                  </a:extLst>
                </a:gridCol>
              </a:tblGrid>
              <a:tr h="470737">
                <a:tc gridSpan="2">
                  <a:txBody>
                    <a:bodyPr/>
                    <a:lstStyle>
                      <a:lvl1pPr marL="0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57169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514337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771506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028675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285843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543011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800180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057349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ar-MA" sz="2400" b="1" kern="1200" dirty="0">
                          <a:solidFill>
                            <a:schemeClr val="bg1"/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عُنْوانُ </a:t>
                      </a:r>
                      <a:r>
                        <a:rPr lang="ar-MA" sz="2400" b="1" kern="1200" dirty="0" err="1">
                          <a:solidFill>
                            <a:schemeClr val="bg1"/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ﭐلْقِصَّةِ</a:t>
                      </a:r>
                      <a:r>
                        <a:rPr lang="ar-MA" sz="2400" b="1" kern="1200" dirty="0">
                          <a:solidFill>
                            <a:schemeClr val="bg1"/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: .............................</a:t>
                      </a:r>
                      <a:endParaRPr lang="fr-MA" sz="2400" b="1" kern="1200" dirty="0">
                        <a:solidFill>
                          <a:schemeClr val="bg1"/>
                        </a:solidFill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</a:endParaRPr>
                    </a:p>
                  </a:txBody>
                  <a:tcPr marL="37924" marR="37924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4D7C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fr-MA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924" marR="37924" marT="0" marB="0" anchor="ctr"/>
                </a:tc>
                <a:extLst>
                  <a:ext uri="{0D108BD9-81ED-4DB2-BD59-A6C34878D82A}">
                    <a16:rowId xmlns:a16="http://schemas.microsoft.com/office/drawing/2014/main" val="553819832"/>
                  </a:ext>
                </a:extLst>
              </a:tr>
              <a:tr h="415363">
                <a:tc gridSpan="2">
                  <a:txBody>
                    <a:bodyPr/>
                    <a:lstStyle>
                      <a:lvl1pPr marL="0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57169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514337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771506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028675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285843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543011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800180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057349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ar-M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اَلْجُزْءُ </a:t>
                      </a:r>
                      <a:r>
                        <a:rPr lang="ar-MA" sz="2400" b="1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ﭐلْأَوَّلُ</a:t>
                      </a:r>
                      <a:r>
                        <a:rPr lang="ar-M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  </a:t>
                      </a:r>
                      <a:endParaRPr lang="fr-MA" sz="2400" b="1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</a:endParaRPr>
                    </a:p>
                  </a:txBody>
                  <a:tcPr marL="37924" marR="37924" marT="0" marB="0" anchor="ctr">
                    <a:lnL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9FE"/>
                    </a:solidFill>
                  </a:tcPr>
                </a:tc>
                <a:tc hMerge="1">
                  <a:txBody>
                    <a:bodyPr/>
                    <a:lstStyle>
                      <a:lvl1pPr marL="0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57169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514337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771506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028675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285843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543011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800180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057349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dirty="0"/>
                    </a:p>
                  </a:txBody>
                  <a:tcPr marL="37924" marR="37924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7702333"/>
                  </a:ext>
                </a:extLst>
              </a:tr>
              <a:tr h="954714">
                <a:tc>
                  <a:txBody>
                    <a:bodyPr/>
                    <a:lstStyle>
                      <a:lvl1pPr marL="0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57169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514337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771506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028675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285843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543011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800180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057349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1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r-MA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24D7C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..................................................................................................................................................................................................................................</a:t>
                      </a:r>
                      <a:endParaRPr kumimoji="0" lang="fr-MA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24D7C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</a:endParaRPr>
                    </a:p>
                  </a:txBody>
                  <a:tcPr marL="37924" marR="37924" marT="0" marB="0" anchor="ctr">
                    <a:lnL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57169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514337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771506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028675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285843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543011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800180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057349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ar-S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أ</a:t>
                      </a:r>
                      <a:r>
                        <a:rPr lang="ar-M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َ</a:t>
                      </a:r>
                      <a:r>
                        <a:rPr lang="ar-S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ف</a:t>
                      </a:r>
                      <a:r>
                        <a:rPr lang="ar-M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ْ</a:t>
                      </a:r>
                      <a:r>
                        <a:rPr lang="ar-S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كار</a:t>
                      </a:r>
                      <a:r>
                        <a:rPr lang="ar-M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ُ</a:t>
                      </a:r>
                      <a:r>
                        <a:rPr lang="ar-S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 </a:t>
                      </a:r>
                      <a:r>
                        <a:rPr lang="ar-SA" sz="2400" b="1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ﭐل</a:t>
                      </a:r>
                      <a:r>
                        <a:rPr lang="ar-M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ْ</a:t>
                      </a:r>
                      <a:r>
                        <a:rPr lang="ar-S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ج</a:t>
                      </a:r>
                      <a:r>
                        <a:rPr lang="ar-M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ُ</a:t>
                      </a:r>
                      <a:r>
                        <a:rPr lang="ar-S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ز</a:t>
                      </a:r>
                      <a:r>
                        <a:rPr lang="ar-M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ْ</a:t>
                      </a:r>
                      <a:r>
                        <a:rPr lang="ar-S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ء</a:t>
                      </a:r>
                      <a:r>
                        <a:rPr lang="ar-M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ِ</a:t>
                      </a:r>
                      <a:endParaRPr lang="fr-MA" sz="2400" b="1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</a:endParaRPr>
                    </a:p>
                  </a:txBody>
                  <a:tcPr marL="37924" marR="37924" marT="0" marB="0" anchor="ctr">
                    <a:lnL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9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4090607"/>
                  </a:ext>
                </a:extLst>
              </a:tr>
              <a:tr h="954714">
                <a:tc>
                  <a:txBody>
                    <a:bodyPr/>
                    <a:lstStyle>
                      <a:lvl1pPr marL="0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57169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514337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771506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028675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285843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543011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800180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057349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1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r-MA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24D7C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..................................................................................................................................................................................................................................</a:t>
                      </a:r>
                      <a:endParaRPr kumimoji="0" lang="fr-MA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24D7C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</a:endParaRPr>
                    </a:p>
                  </a:txBody>
                  <a:tcPr marL="37924" marR="37924" marT="0" marB="0" anchor="ctr">
                    <a:lnL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57169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514337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771506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028675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285843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543011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800180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057349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ar-M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مَعْلوماتٌ جَديدَةٌ وَتَعابيرُ جَميلَةٌ </a:t>
                      </a:r>
                      <a:endParaRPr lang="fr-MA" sz="2400" b="1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</a:endParaRPr>
                    </a:p>
                  </a:txBody>
                  <a:tcPr marL="37924" marR="37924" marT="0" marB="0" anchor="ctr">
                    <a:lnL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9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5686766"/>
                  </a:ext>
                </a:extLst>
              </a:tr>
              <a:tr h="954714">
                <a:tc>
                  <a:txBody>
                    <a:bodyPr/>
                    <a:lstStyle>
                      <a:lvl1pPr marL="0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57169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514337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771506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028675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285843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543011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800180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057349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1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r-MA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24D7C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..................................................................................................................................................................................................................................</a:t>
                      </a:r>
                      <a:endParaRPr kumimoji="0" lang="fr-MA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24D7C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</a:endParaRPr>
                    </a:p>
                  </a:txBody>
                  <a:tcPr marL="37924" marR="37924" marT="0" marB="0" anchor="ctr">
                    <a:lnL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57169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514337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771506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028675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285843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543011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800180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057349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ar-M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مُلَخَّصُ </a:t>
                      </a:r>
                      <a:r>
                        <a:rPr lang="ar-MA" sz="2400" b="1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ﭐلْجُزْءِ</a:t>
                      </a:r>
                      <a:r>
                        <a:rPr lang="ar-M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 </a:t>
                      </a:r>
                      <a:endParaRPr lang="fr-MA" sz="2400" b="1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</a:endParaRPr>
                    </a:p>
                  </a:txBody>
                  <a:tcPr marL="37924" marR="37924" marT="0" marB="0" anchor="ctr">
                    <a:lnL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9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7021215"/>
                  </a:ext>
                </a:extLst>
              </a:tr>
              <a:tr h="954714">
                <a:tc>
                  <a:txBody>
                    <a:bodyPr/>
                    <a:lstStyle>
                      <a:lvl1pPr marL="0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57169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514337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771506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028675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285843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543011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800180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057349" algn="l" defTabSz="514337" rtl="0" eaLnBrk="1" latinLnBrk="0" hangingPunct="1">
                        <a:defRPr sz="101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1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r-MA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24D7C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..................................................................................................................................................................................................................................</a:t>
                      </a:r>
                      <a:endParaRPr kumimoji="0" lang="fr-MA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24D7C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</a:endParaRPr>
                    </a:p>
                  </a:txBody>
                  <a:tcPr marL="37924" marR="37924" marT="0" marB="0" anchor="ctr">
                    <a:lnL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57169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514337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771506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028675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285843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543011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800180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057349" algn="l" defTabSz="514337" rtl="0" eaLnBrk="1" latinLnBrk="0" hangingPunct="1">
                        <a:defRPr sz="101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ar-MA" sz="24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مُعْجَمي </a:t>
                      </a:r>
                      <a:r>
                        <a:rPr lang="ar-MA" sz="2400" b="1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ﭐلْجَديدُ</a:t>
                      </a:r>
                      <a:endParaRPr lang="fr-MA" sz="2400" b="1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</a:endParaRPr>
                    </a:p>
                  </a:txBody>
                  <a:tcPr marL="37924" marR="37924" marT="0" marB="0" anchor="ctr">
                    <a:lnL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D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9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66413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2957704"/>
      </p:ext>
    </p:extLst>
  </p:cSld>
  <p:clrMapOvr>
    <a:masterClrMapping/>
  </p:clrMapOvr>
  <p:transition spd="slow">
    <p:fade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3321BF-D3B1-C4E9-DEEA-D4F137D1CB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724E72F0-BF50-F88B-C115-8F70EC3111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2400" b="1" dirty="0">
                <a:solidFill>
                  <a:schemeClr val="bg1">
                    <a:lumMod val="50000"/>
                  </a:scheme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الآن سنبني معا خريطة ذهنية للقصة</a:t>
            </a: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؟</a:t>
            </a:r>
          </a:p>
        </p:txBody>
      </p:sp>
      <p:pic>
        <p:nvPicPr>
          <p:cNvPr id="16" name="Espace réservé pour une image  17">
            <a:extLst>
              <a:ext uri="{FF2B5EF4-FFF2-40B4-BE49-F238E27FC236}">
                <a16:creationId xmlns:a16="http://schemas.microsoft.com/office/drawing/2014/main" id="{714B3821-5C5A-F26B-71C2-6CA7E6141507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graphicFrame>
        <p:nvGraphicFramePr>
          <p:cNvPr id="23" name="Diagramme 22">
            <a:extLst>
              <a:ext uri="{FF2B5EF4-FFF2-40B4-BE49-F238E27FC236}">
                <a16:creationId xmlns:a16="http://schemas.microsoft.com/office/drawing/2014/main" id="{B5F0345C-7356-D9A7-CF7D-4A0F5B8505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29296608"/>
              </p:ext>
            </p:extLst>
          </p:nvPr>
        </p:nvGraphicFramePr>
        <p:xfrm>
          <a:off x="811160" y="1914904"/>
          <a:ext cx="7521680" cy="32841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4" name="Flèche : bas 23">
            <a:extLst>
              <a:ext uri="{FF2B5EF4-FFF2-40B4-BE49-F238E27FC236}">
                <a16:creationId xmlns:a16="http://schemas.microsoft.com/office/drawing/2014/main" id="{56FB5D30-446A-486A-AA5D-63722AA10E1A}"/>
              </a:ext>
            </a:extLst>
          </p:cNvPr>
          <p:cNvSpPr/>
          <p:nvPr/>
        </p:nvSpPr>
        <p:spPr>
          <a:xfrm>
            <a:off x="4397542" y="5221949"/>
            <a:ext cx="348916" cy="307690"/>
          </a:xfrm>
          <a:prstGeom prst="down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25" name="Rectangle : coins arrondis 24">
            <a:extLst>
              <a:ext uri="{FF2B5EF4-FFF2-40B4-BE49-F238E27FC236}">
                <a16:creationId xmlns:a16="http://schemas.microsoft.com/office/drawing/2014/main" id="{0B6A7742-3137-E3C7-3F58-A19EA4D7C8E7}"/>
              </a:ext>
            </a:extLst>
          </p:cNvPr>
          <p:cNvSpPr/>
          <p:nvPr/>
        </p:nvSpPr>
        <p:spPr>
          <a:xfrm>
            <a:off x="811160" y="5529639"/>
            <a:ext cx="7521680" cy="818147"/>
          </a:xfrm>
          <a:prstGeom prst="roundRect">
            <a:avLst/>
          </a:prstGeom>
          <a:solidFill>
            <a:srgbClr val="F0F9F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1"/>
            <a:r>
              <a:rPr lang="ar-MA" sz="3600" b="1" dirty="0">
                <a:solidFill>
                  <a:srgbClr val="424D7C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اَلْعِبْرَةُ الّتي </a:t>
            </a:r>
            <a:r>
              <a:rPr lang="ar-MA" sz="3600" b="1" dirty="0" err="1">
                <a:solidFill>
                  <a:srgbClr val="424D7C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اسْتَفْدْتُها</a:t>
            </a:r>
            <a:r>
              <a:rPr lang="ar-MA" sz="3600" b="1" dirty="0">
                <a:solidFill>
                  <a:srgbClr val="424D7C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 : ..........................................................</a:t>
            </a:r>
            <a:endParaRPr lang="fr-MA" sz="3600" b="1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FA4BDFA6-B4A4-FF8B-2A25-DE1AC86C1BF1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48D345D7-F498-36C9-ABE8-772E48FEE432}"/>
              </a:ext>
            </a:extLst>
          </p:cNvPr>
          <p:cNvPicPr>
            <a:picLocks noChangeAspect="1"/>
          </p:cNvPicPr>
          <p:nvPr/>
        </p:nvPicPr>
        <p:blipFill>
          <a:blip r:embed="rId9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FB1272EE-0DC1-3A6C-4431-68F788B0932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08F91EE4-6DDD-5CF7-6184-3C226AA6D4DC}"/>
              </a:ext>
            </a:extLst>
          </p:cNvPr>
          <p:cNvPicPr>
            <a:picLocks noChangeAspect="1"/>
          </p:cNvPicPr>
          <p:nvPr/>
        </p:nvPicPr>
        <p:blipFill>
          <a:blip r:embed="rId11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66E4DC01-2752-6975-C01B-4CB2DDA52371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فتتاح الحصة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4A4CD89-2679-FF57-033D-E38D063DCCA3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67D18B2-99F8-F4CA-4D59-1360BC8CE537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40DDE09-2340-AE9B-0E61-5602ED8B2D5D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قراءة الإثرائية</a:t>
            </a:r>
          </a:p>
        </p:txBody>
      </p:sp>
    </p:spTree>
    <p:extLst>
      <p:ext uri="{BB962C8B-B14F-4D97-AF65-F5344CB8AC3E}">
        <p14:creationId xmlns:p14="http://schemas.microsoft.com/office/powerpoint/2010/main" val="4070963154"/>
      </p:ext>
    </p:extLst>
  </p:cSld>
  <p:clrMapOvr>
    <a:masterClrMapping/>
  </p:clrMapOvr>
  <p:transition spd="slow">
    <p:fade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DF8AA1-D4A9-1AB7-98E6-02C6E25A47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DEEA676C-DA63-E01A-92AC-55EAF0AF8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دونوا هذ</a:t>
            </a:r>
            <a:r>
              <a:rPr lang="ar-MA" sz="2400" b="1" dirty="0">
                <a:solidFill>
                  <a:schemeClr val="bg1">
                    <a:lumMod val="50000"/>
                  </a:scheme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ه الخريطة الذهنية على دفاتر البحث. أنجزوا المطلوب في منازلكم.</a:t>
            </a:r>
            <a:endParaRPr kumimoji="0" lang="ar-MA" sz="24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Microsoft Uighur" panose="02000000000000000000" pitchFamily="2" charset="-78"/>
              <a:ea typeface="Calibri" panose="020F0502020204030204" pitchFamily="34" charset="0"/>
              <a:cs typeface="Microsoft Uighur" panose="02000000000000000000" pitchFamily="2" charset="-78"/>
            </a:endParaRPr>
          </a:p>
        </p:txBody>
      </p:sp>
      <p:pic>
        <p:nvPicPr>
          <p:cNvPr id="16" name="Espace réservé pour une image  17">
            <a:extLst>
              <a:ext uri="{FF2B5EF4-FFF2-40B4-BE49-F238E27FC236}">
                <a16:creationId xmlns:a16="http://schemas.microsoft.com/office/drawing/2014/main" id="{21A21854-851B-71F9-4ACA-5C8416F74821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graphicFrame>
        <p:nvGraphicFramePr>
          <p:cNvPr id="23" name="Diagramme 22">
            <a:extLst>
              <a:ext uri="{FF2B5EF4-FFF2-40B4-BE49-F238E27FC236}">
                <a16:creationId xmlns:a16="http://schemas.microsoft.com/office/drawing/2014/main" id="{0C46FDAB-A3D7-82C1-0004-4AAF73FA14C6}"/>
              </a:ext>
            </a:extLst>
          </p:cNvPr>
          <p:cNvGraphicFramePr/>
          <p:nvPr/>
        </p:nvGraphicFramePr>
        <p:xfrm>
          <a:off x="811160" y="1914904"/>
          <a:ext cx="7521680" cy="32841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4" name="Flèche : bas 23">
            <a:extLst>
              <a:ext uri="{FF2B5EF4-FFF2-40B4-BE49-F238E27FC236}">
                <a16:creationId xmlns:a16="http://schemas.microsoft.com/office/drawing/2014/main" id="{E0A215FE-21B5-FB2A-CF40-B0AB7E24DDF3}"/>
              </a:ext>
            </a:extLst>
          </p:cNvPr>
          <p:cNvSpPr/>
          <p:nvPr/>
        </p:nvSpPr>
        <p:spPr>
          <a:xfrm>
            <a:off x="4397542" y="5221949"/>
            <a:ext cx="348916" cy="307690"/>
          </a:xfrm>
          <a:prstGeom prst="down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5" name="Rectangle : coins arrondis 24">
            <a:extLst>
              <a:ext uri="{FF2B5EF4-FFF2-40B4-BE49-F238E27FC236}">
                <a16:creationId xmlns:a16="http://schemas.microsoft.com/office/drawing/2014/main" id="{D44B81A6-EDEC-D7C5-089C-3A52BD84D5F6}"/>
              </a:ext>
            </a:extLst>
          </p:cNvPr>
          <p:cNvSpPr/>
          <p:nvPr/>
        </p:nvSpPr>
        <p:spPr>
          <a:xfrm>
            <a:off x="811160" y="5529639"/>
            <a:ext cx="7521680" cy="818147"/>
          </a:xfrm>
          <a:prstGeom prst="roundRect">
            <a:avLst/>
          </a:prstGeom>
          <a:solidFill>
            <a:srgbClr val="F0F9F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3600" b="1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َلْعِبْرَةُ الّتي </a:t>
            </a:r>
            <a:r>
              <a:rPr kumimoji="0" lang="ar-MA" sz="3600" b="1" i="0" u="none" strike="noStrike" kern="1200" cap="none" spc="0" normalizeH="0" baseline="0" noProof="0" dirty="0" err="1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سْتَفْدْتُها</a:t>
            </a:r>
            <a:r>
              <a:rPr kumimoji="0" lang="ar-MA" sz="3600" b="1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: ..........................................................</a:t>
            </a:r>
            <a:endParaRPr kumimoji="0" lang="fr-MA" sz="3600" b="1" i="0" u="none" strike="noStrike" kern="1200" cap="none" spc="0" normalizeH="0" baseline="0" noProof="0" dirty="0">
              <a:ln>
                <a:noFill/>
              </a:ln>
              <a:solidFill>
                <a:srgbClr val="424D7C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760AA64D-AD15-FFDF-0C94-DBFDAE325964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BAA95A7B-CF71-D0D6-6A07-896FBE8252F7}"/>
              </a:ext>
            </a:extLst>
          </p:cNvPr>
          <p:cNvPicPr>
            <a:picLocks noChangeAspect="1"/>
          </p:cNvPicPr>
          <p:nvPr/>
        </p:nvPicPr>
        <p:blipFill>
          <a:blip r:embed="rId9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31351DE5-84CF-D7A5-D904-1D247A2FAA2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94982028-69B1-9944-885A-EF742854F42F}"/>
              </a:ext>
            </a:extLst>
          </p:cNvPr>
          <p:cNvPicPr>
            <a:picLocks noChangeAspect="1"/>
          </p:cNvPicPr>
          <p:nvPr/>
        </p:nvPicPr>
        <p:blipFill>
          <a:blip r:embed="rId11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3DBC6B57-5FBD-DEDA-FD37-124822E699F0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فتتاح الحصة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491EBA7-AEF1-6EC7-A80A-862F70E4545A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F1FFF60-B81F-8C98-A720-85E51CDDD54D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67F537-EE00-1262-02E3-5C14FBF29591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قراءة الإثرائية</a:t>
            </a:r>
          </a:p>
        </p:txBody>
      </p:sp>
    </p:spTree>
    <p:extLst>
      <p:ext uri="{BB962C8B-B14F-4D97-AF65-F5344CB8AC3E}">
        <p14:creationId xmlns:p14="http://schemas.microsoft.com/office/powerpoint/2010/main" val="3476426522"/>
      </p:ext>
    </p:extLst>
  </p:cSld>
  <p:clrMapOvr>
    <a:masterClrMapping/>
  </p:clrMapOvr>
  <p:transition spd="slow">
    <p:fade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5182E4-EEB5-F952-9174-9F1659A808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Image 27">
            <a:extLst>
              <a:ext uri="{FF2B5EF4-FFF2-40B4-BE49-F238E27FC236}">
                <a16:creationId xmlns:a16="http://schemas.microsoft.com/office/drawing/2014/main" id="{A8BF5239-5C3D-95BC-484F-07883C2C610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495" t="10740" r="-4368" b="1155"/>
          <a:stretch>
            <a:fillRect/>
          </a:stretch>
        </p:blipFill>
        <p:spPr>
          <a:xfrm>
            <a:off x="678137" y="1807373"/>
            <a:ext cx="7789894" cy="4824000"/>
          </a:xfrm>
          <a:prstGeom prst="rect">
            <a:avLst/>
          </a:prstGeom>
        </p:spPr>
      </p:pic>
      <p:pic>
        <p:nvPicPr>
          <p:cNvPr id="31" name="Image 30">
            <a:extLst>
              <a:ext uri="{FF2B5EF4-FFF2-40B4-BE49-F238E27FC236}">
                <a16:creationId xmlns:a16="http://schemas.microsoft.com/office/drawing/2014/main" id="{6B59BFC9-5120-AA06-2828-5D4433ABD81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62911" y="1970694"/>
            <a:ext cx="726603" cy="720000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403CC685-9232-CF85-B60A-F8A2E630F6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812399"/>
            <a:ext cx="7886700" cy="720000"/>
          </a:xfrm>
        </p:spPr>
        <p:txBody>
          <a:bodyPr>
            <a:normAutofit/>
          </a:bodyPr>
          <a:lstStyle/>
          <a:p>
            <a:r>
              <a:rPr lang="ar-MA" dirty="0">
                <a:solidFill>
                  <a:srgbClr val="424D7C"/>
                </a:solidFill>
              </a:rPr>
              <a:t>اختتام الحصة</a:t>
            </a:r>
            <a:endParaRPr lang="fr-MA" dirty="0">
              <a:solidFill>
                <a:srgbClr val="424D7C"/>
              </a:solidFill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E5B36EE5-C0D7-DBD2-E065-434165B944F8}"/>
              </a:ext>
            </a:extLst>
          </p:cNvPr>
          <p:cNvSpPr txBox="1"/>
          <p:nvPr/>
        </p:nvSpPr>
        <p:spPr>
          <a:xfrm>
            <a:off x="5076825" y="1808769"/>
            <a:ext cx="206692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3600" b="1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تام الحصة</a:t>
            </a:r>
            <a:endParaRPr kumimoji="0" lang="fr-MA" sz="3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E8EE504C-8CD3-5CB6-57E7-CFD362C5698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95600" y="961283"/>
            <a:ext cx="396000" cy="396000"/>
          </a:xfrm>
          <a:prstGeom prst="rect">
            <a:avLst/>
          </a:prstGeom>
          <a:ln>
            <a:noFill/>
          </a:ln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560E0E01-7B59-1BCA-4B70-88B4CCB8D6F2}"/>
              </a:ext>
            </a:extLst>
          </p:cNvPr>
          <p:cNvSpPr txBox="1"/>
          <p:nvPr/>
        </p:nvSpPr>
        <p:spPr>
          <a:xfrm>
            <a:off x="3517132" y="2738130"/>
            <a:ext cx="34932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اذا تعلمت اليوم؟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99D24109-5D4C-429C-61FC-ED62F46F6AC3}"/>
              </a:ext>
            </a:extLst>
          </p:cNvPr>
          <p:cNvSpPr txBox="1"/>
          <p:nvPr/>
        </p:nvSpPr>
        <p:spPr>
          <a:xfrm>
            <a:off x="3612381" y="3274714"/>
            <a:ext cx="33980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واجب المنزلي</a:t>
            </a:r>
          </a:p>
        </p:txBody>
      </p:sp>
    </p:spTree>
    <p:extLst>
      <p:ext uri="{BB962C8B-B14F-4D97-AF65-F5344CB8AC3E}">
        <p14:creationId xmlns:p14="http://schemas.microsoft.com/office/powerpoint/2010/main" val="333445157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5E8E94-55AD-263E-48C3-ABC7565644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>
            <a:extLst>
              <a:ext uri="{FF2B5EF4-FFF2-40B4-BE49-F238E27FC236}">
                <a16:creationId xmlns:a16="http://schemas.microsoft.com/office/drawing/2014/main" id="{1715AF14-1EF2-15C2-E76B-FA03D66C7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73" y="756000"/>
            <a:ext cx="6840000" cy="612000"/>
          </a:xfrm>
        </p:spPr>
        <p:txBody>
          <a:bodyPr>
            <a:normAutofit/>
          </a:bodyPr>
          <a:lstStyle/>
          <a:p>
            <a:pPr rtl="0"/>
            <a:r>
              <a:rPr lang="ar-MA" sz="2400" b="1" dirty="0">
                <a:solidFill>
                  <a:schemeClr val="bg1">
                    <a:lumMod val="50000"/>
                  </a:scheme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إلى اللقاء في الحصة المقبلة </a:t>
            </a:r>
            <a:endParaRPr lang="fr-FR" sz="24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7" name="اختتام الحصة5_1">
            <a:hlinkClick r:id="" action="ppaction://media"/>
            <a:extLst>
              <a:ext uri="{FF2B5EF4-FFF2-40B4-BE49-F238E27FC236}">
                <a16:creationId xmlns:a16="http://schemas.microsoft.com/office/drawing/2014/main" id="{07E2D7E6-3EAF-0006-7B3B-1B980B35FB2B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871663" y="2439988"/>
            <a:ext cx="5400675" cy="3038475"/>
          </a:xfrm>
          <a:prstGeom prst="rect">
            <a:avLst/>
          </a:prstGeom>
        </p:spPr>
      </p:pic>
      <p:pic>
        <p:nvPicPr>
          <p:cNvPr id="8" name="Image 7" descr="Une image contenant noir, obscurité&#10;&#10;Le contenu généré par l’IA peut être incorrect.">
            <a:extLst>
              <a:ext uri="{FF2B5EF4-FFF2-40B4-BE49-F238E27FC236}">
                <a16:creationId xmlns:a16="http://schemas.microsoft.com/office/drawing/2014/main" id="{8EF55583-AF08-C2B5-6383-6599C8ED69E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32373" y="6241000"/>
            <a:ext cx="540000" cy="540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88F0BDE9-0EC3-9916-A553-24DB8DE75091}"/>
              </a:ext>
            </a:extLst>
          </p:cNvPr>
          <p:cNvSpPr>
            <a:spLocks/>
          </p:cNvSpPr>
          <p:nvPr/>
        </p:nvSpPr>
        <p:spPr>
          <a:xfrm>
            <a:off x="552763" y="14168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ــتام الحــصة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FEF8BCE8-EA6A-9762-D3D4-0D7C0FBBE3CB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33113" y="136455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78230D68-39E9-FC1D-554B-FC0A0544774D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67689" y="136455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94A90079-1A78-288F-4002-5299F3E596F2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83309" y="136455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6C02F445-B0FE-347A-456A-D3964F0ED6A4}"/>
              </a:ext>
            </a:extLst>
          </p:cNvPr>
          <p:cNvPicPr>
            <a:picLocks noChangeAspect="1"/>
          </p:cNvPicPr>
          <p:nvPr/>
        </p:nvPicPr>
        <p:blipFill>
          <a:blip r:embed="rId9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859439" y="126524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B7B17518-65D9-092A-F4CA-7C3D3BED9D39}"/>
              </a:ext>
            </a:extLst>
          </p:cNvPr>
          <p:cNvSpPr>
            <a:spLocks/>
          </p:cNvSpPr>
          <p:nvPr/>
        </p:nvSpPr>
        <p:spPr>
          <a:xfrm>
            <a:off x="4738133" y="166631"/>
            <a:ext cx="1327846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ورشة القراءة</a:t>
            </a:r>
            <a:r>
              <a:rPr kumimoji="0" lang="fr-FR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1 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955F57C-4BE8-5214-94BE-2C1D92F2CE5F}"/>
              </a:ext>
            </a:extLst>
          </p:cNvPr>
          <p:cNvSpPr>
            <a:spLocks/>
          </p:cNvSpPr>
          <p:nvPr/>
        </p:nvSpPr>
        <p:spPr>
          <a:xfrm>
            <a:off x="2638374" y="126524"/>
            <a:ext cx="134408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ورشة القراءة</a:t>
            </a:r>
            <a:r>
              <a:rPr kumimoji="0" lang="fr-FR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2</a:t>
            </a:r>
            <a:r>
              <a:rPr kumimoji="0" lang="fr-FR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rPr>
              <a:t> 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A965166-E611-AD54-4B78-8BC9EC51B60A}"/>
              </a:ext>
            </a:extLst>
          </p:cNvPr>
          <p:cNvSpPr>
            <a:spLocks/>
          </p:cNvSpPr>
          <p:nvPr/>
        </p:nvSpPr>
        <p:spPr>
          <a:xfrm>
            <a:off x="6573113" y="14168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فتتاح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حصة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AC05F5E7-A446-A764-A157-6DDA0013F18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992" y="690243"/>
            <a:ext cx="847392" cy="847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191764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037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9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0" fill="hold">
                      <p:stCondLst>
                        <p:cond delay="0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3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  <p:video>
              <p:cMediaNode vol="80000">
                <p:cTn id="14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B27C7B-9C9C-C699-A54F-7855EA5BB7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05B8846B-83EA-E264-E37E-D695E82545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3817" y="789099"/>
            <a:ext cx="7886700" cy="720000"/>
          </a:xfrm>
        </p:spPr>
        <p:txBody>
          <a:bodyPr/>
          <a:lstStyle/>
          <a:p>
            <a:r>
              <a:rPr lang="ar-MA" sz="4000" dirty="0"/>
              <a:t>هيكلة حصة اليوم</a:t>
            </a:r>
            <a:endParaRPr lang="fr-MA" sz="4000" dirty="0">
              <a:solidFill>
                <a:srgbClr val="424D7A"/>
              </a:solidFill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20" name="Image 19" descr="Une image contenant noir, obscurité&#10;&#10;Le contenu généré par l’IA peut être incorrect.">
            <a:extLst>
              <a:ext uri="{FF2B5EF4-FFF2-40B4-BE49-F238E27FC236}">
                <a16:creationId xmlns:a16="http://schemas.microsoft.com/office/drawing/2014/main" id="{71FA64D6-2488-E89C-59ED-6D025853D9D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2614" y="1977543"/>
            <a:ext cx="5488778" cy="1415180"/>
          </a:xfrm>
          <a:prstGeom prst="rect">
            <a:avLst/>
          </a:prstGeom>
        </p:spPr>
      </p:pic>
      <p:sp>
        <p:nvSpPr>
          <p:cNvPr id="21" name="Espace réservé du texte 5">
            <a:extLst>
              <a:ext uri="{FF2B5EF4-FFF2-40B4-BE49-F238E27FC236}">
                <a16:creationId xmlns:a16="http://schemas.microsoft.com/office/drawing/2014/main" id="{0E1DEF7F-397F-C4D0-C5EC-85EFF585D32C}"/>
              </a:ext>
            </a:extLst>
          </p:cNvPr>
          <p:cNvSpPr txBox="1">
            <a:spLocks/>
          </p:cNvSpPr>
          <p:nvPr/>
        </p:nvSpPr>
        <p:spPr>
          <a:xfrm>
            <a:off x="2122822" y="2477934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l"/>
              <a:defRPr sz="1200" kern="1200">
                <a:solidFill>
                  <a:srgbClr val="424D7B"/>
                </a:solidFill>
                <a:latin typeface="Dosis SemiBold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10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marR="0" lvl="0" indent="-266700" algn="r" defTabSz="914400" rtl="1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24D7B"/>
              </a:buClr>
              <a:buSzTx/>
              <a:buFont typeface="Wingdings" panose="05000000000000000000" pitchFamily="2" charset="2"/>
              <a:buChar char="l"/>
              <a:tabLst/>
              <a:defRPr/>
            </a:pPr>
            <a:r>
              <a:rPr lang="ar-MA" sz="1600" b="1" dirty="0">
                <a:cs typeface="Microsoft Uighur" panose="02000000000000000000" pitchFamily="2" charset="-78"/>
              </a:rPr>
              <a:t>تقويم مستوى التحكم .</a:t>
            </a:r>
            <a:endParaRPr kumimoji="0" lang="ar-MA" sz="1200" b="1" i="0" u="none" strike="noStrike" kern="1200" cap="none" spc="0" normalizeH="0" baseline="0" noProof="0" dirty="0">
              <a:ln>
                <a:noFill/>
              </a:ln>
              <a:solidFill>
                <a:srgbClr val="424D7B"/>
              </a:solidFill>
              <a:effectLst/>
              <a:uLnTx/>
              <a:uFillTx/>
              <a:latin typeface="Dosis SemiBold" pitchFamily="2" charset="0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FECB4FE8-F88A-0FF3-B3EE-1C21ACDAA97D}"/>
              </a:ext>
            </a:extLst>
          </p:cNvPr>
          <p:cNvSpPr txBox="1"/>
          <p:nvPr/>
        </p:nvSpPr>
        <p:spPr>
          <a:xfrm>
            <a:off x="5420641" y="2122576"/>
            <a:ext cx="12186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 -  01 </a:t>
            </a:r>
            <a:r>
              <a:rPr kumimoji="0" lang="ar-MA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رائز التحقق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A8033E18-0BF8-0A23-3475-6EDAB678A6E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19908" y="2189639"/>
            <a:ext cx="544953" cy="540000"/>
          </a:xfrm>
          <a:prstGeom prst="rect">
            <a:avLst/>
          </a:prstGeom>
        </p:spPr>
      </p:pic>
      <p:pic>
        <p:nvPicPr>
          <p:cNvPr id="23" name="Espace réservé pour une image  20">
            <a:extLst>
              <a:ext uri="{FF2B5EF4-FFF2-40B4-BE49-F238E27FC236}">
                <a16:creationId xmlns:a16="http://schemas.microsoft.com/office/drawing/2014/main" id="{DB7EDC81-5010-F21C-8657-F278D00C5CF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560" r="-7560"/>
          <a:stretch>
            <a:fillRect/>
          </a:stretch>
        </p:blipFill>
        <p:spPr>
          <a:xfrm>
            <a:off x="1730948" y="1983250"/>
            <a:ext cx="468000" cy="468000"/>
          </a:xfrm>
          <a:prstGeom prst="rect">
            <a:avLst/>
          </a:prstGeom>
        </p:spPr>
      </p:pic>
      <p:pic>
        <p:nvPicPr>
          <p:cNvPr id="2" name="Image 1" descr="Une image contenant noir, obscurité&#10;&#10;Le contenu généré par l’IA peut être incorrect.">
            <a:extLst>
              <a:ext uri="{FF2B5EF4-FFF2-40B4-BE49-F238E27FC236}">
                <a16:creationId xmlns:a16="http://schemas.microsoft.com/office/drawing/2014/main" id="{FB81E251-DEE6-2737-C7C1-6AEADF15F1F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9392" y="3243576"/>
            <a:ext cx="5472000" cy="1405870"/>
          </a:xfrm>
          <a:prstGeom prst="rect">
            <a:avLst/>
          </a:prstGeom>
        </p:spPr>
      </p:pic>
      <p:sp>
        <p:nvSpPr>
          <p:cNvPr id="3" name="Espace réservé du texte 5">
            <a:extLst>
              <a:ext uri="{FF2B5EF4-FFF2-40B4-BE49-F238E27FC236}">
                <a16:creationId xmlns:a16="http://schemas.microsoft.com/office/drawing/2014/main" id="{A8417B3C-ED6C-3E31-483B-4AA47805F93E}"/>
              </a:ext>
            </a:extLst>
          </p:cNvPr>
          <p:cNvSpPr txBox="1">
            <a:spLocks/>
          </p:cNvSpPr>
          <p:nvPr/>
        </p:nvSpPr>
        <p:spPr>
          <a:xfrm>
            <a:off x="2102784" y="3743967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l"/>
              <a:defRPr sz="1200" kern="1200">
                <a:solidFill>
                  <a:srgbClr val="424D7B"/>
                </a:solidFill>
                <a:latin typeface="Dosis SemiBold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10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marR="0" lvl="0" indent="-266700" algn="r" defTabSz="914400" rtl="1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24D7B"/>
              </a:buClr>
              <a:buSzTx/>
              <a:buFont typeface="Wingdings" panose="05000000000000000000" pitchFamily="2" charset="2"/>
              <a:buChar char="l"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Dosis SemiBold" pitchFamily="2" charset="0"/>
                <a:ea typeface="+mn-ea"/>
                <a:cs typeface="Microsoft Uighur" panose="02000000000000000000" pitchFamily="2" charset="-78"/>
              </a:rPr>
              <a:t>أنشطة المعالجة و الدعم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CF9B7FF1-551C-6B3E-88C4-2711FAE3DD72}"/>
              </a:ext>
            </a:extLst>
          </p:cNvPr>
          <p:cNvSpPr txBox="1"/>
          <p:nvPr/>
        </p:nvSpPr>
        <p:spPr>
          <a:xfrm>
            <a:off x="5228953" y="3380220"/>
            <a:ext cx="13789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r" rtl="1"/>
            <a:r>
              <a:rPr kumimoji="0" lang="fr-MA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 </a:t>
            </a:r>
            <a:r>
              <a:rPr kumimoji="0" lang="fr-MA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- 02</a:t>
            </a:r>
            <a:r>
              <a:rPr kumimoji="0" lang="ar-MA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 </a:t>
            </a:r>
            <a:r>
              <a:rPr lang="ar-MA" b="1" dirty="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مراجعة وتوليف</a:t>
            </a:r>
            <a:endParaRPr kumimoji="0" lang="ar-MA" b="1" i="0" u="none" strike="noStrike" kern="1200" cap="none" spc="0" normalizeH="0" baseline="0" noProof="0" dirty="0">
              <a:ln>
                <a:noFill/>
              </a:ln>
              <a:solidFill>
                <a:srgbClr val="424D7B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BF8F49AE-464A-582F-C030-A17BF030BC3B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6737733" y="3430505"/>
            <a:ext cx="536339" cy="540000"/>
          </a:xfrm>
          <a:prstGeom prst="rect">
            <a:avLst/>
          </a:prstGeom>
        </p:spPr>
      </p:pic>
      <p:pic>
        <p:nvPicPr>
          <p:cNvPr id="12" name="Image 11" descr="Une image contenant noir, obscurité&#10;&#10;Le contenu généré par l’IA peut être incorrect.">
            <a:extLst>
              <a:ext uri="{FF2B5EF4-FFF2-40B4-BE49-F238E27FC236}">
                <a16:creationId xmlns:a16="http://schemas.microsoft.com/office/drawing/2014/main" id="{527705E2-A70D-8FDD-59FC-42FB5B08AD4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9392" y="4525100"/>
            <a:ext cx="5525521" cy="1405870"/>
          </a:xfrm>
          <a:prstGeom prst="rect">
            <a:avLst/>
          </a:prstGeom>
        </p:spPr>
      </p:pic>
      <p:sp>
        <p:nvSpPr>
          <p:cNvPr id="13" name="Espace réservé du texte 5">
            <a:extLst>
              <a:ext uri="{FF2B5EF4-FFF2-40B4-BE49-F238E27FC236}">
                <a16:creationId xmlns:a16="http://schemas.microsoft.com/office/drawing/2014/main" id="{D6485E13-3F45-F80C-515F-11D586D2820C}"/>
              </a:ext>
            </a:extLst>
          </p:cNvPr>
          <p:cNvSpPr txBox="1">
            <a:spLocks/>
          </p:cNvSpPr>
          <p:nvPr/>
        </p:nvSpPr>
        <p:spPr>
          <a:xfrm>
            <a:off x="2160599" y="5017102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l"/>
              <a:defRPr sz="1200" kern="1200">
                <a:solidFill>
                  <a:srgbClr val="424D7B"/>
                </a:solidFill>
                <a:latin typeface="Dosis SemiBold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10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 rtl="1">
              <a:buClr>
                <a:srgbClr val="424D7B"/>
              </a:buClr>
            </a:pPr>
            <a:r>
              <a:rPr lang="ar-MA" sz="1600" b="1" dirty="0">
                <a:cs typeface="Microsoft Uighur" panose="02000000000000000000" pitchFamily="2" charset="-78"/>
              </a:rPr>
              <a:t>الصحن الصغير - الحصة 4 – 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01A969E0-85FC-2E62-B385-F693C62C91A3}"/>
              </a:ext>
            </a:extLst>
          </p:cNvPr>
          <p:cNvSpPr txBox="1"/>
          <p:nvPr/>
        </p:nvSpPr>
        <p:spPr>
          <a:xfrm>
            <a:off x="4086808" y="4692778"/>
            <a:ext cx="25159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 rtl="1"/>
            <a:r>
              <a:rPr kumimoji="0" lang="fr-MA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 </a:t>
            </a:r>
            <a:r>
              <a:rPr kumimoji="0" lang="fr-MA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- 03</a:t>
            </a:r>
            <a:r>
              <a:rPr lang="ar-MA" b="1" dirty="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القراءة الإثرائية</a:t>
            </a:r>
            <a:endParaRPr kumimoji="0" lang="ar-MA" b="1" i="0" u="none" strike="noStrike" kern="1200" cap="none" spc="0" normalizeH="0" baseline="0" noProof="0" dirty="0">
              <a:ln>
                <a:noFill/>
              </a:ln>
              <a:solidFill>
                <a:srgbClr val="424D7B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27" name="Espace réservé pour une image  20">
            <a:extLst>
              <a:ext uri="{FF2B5EF4-FFF2-40B4-BE49-F238E27FC236}">
                <a16:creationId xmlns:a16="http://schemas.microsoft.com/office/drawing/2014/main" id="{F2E0393C-6904-6EA4-F854-FE7AF2B5157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560" r="-7560"/>
          <a:stretch>
            <a:fillRect/>
          </a:stretch>
        </p:blipFill>
        <p:spPr>
          <a:xfrm>
            <a:off x="1730948" y="4530539"/>
            <a:ext cx="468000" cy="468000"/>
          </a:xfrm>
          <a:prstGeom prst="rect">
            <a:avLst/>
          </a:prstGeom>
        </p:spPr>
      </p:pic>
      <p:pic>
        <p:nvPicPr>
          <p:cNvPr id="9" name="Espace réservé pour une image  20">
            <a:extLst>
              <a:ext uri="{FF2B5EF4-FFF2-40B4-BE49-F238E27FC236}">
                <a16:creationId xmlns:a16="http://schemas.microsoft.com/office/drawing/2014/main" id="{0411D317-4984-A58F-56A5-73DC875A121E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560" r="-7560"/>
          <a:stretch>
            <a:fillRect/>
          </a:stretch>
        </p:blipFill>
        <p:spPr>
          <a:xfrm>
            <a:off x="1730948" y="3255190"/>
            <a:ext cx="468000" cy="468000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6D87621C-7824-79B5-1BD7-1B109EA19CE1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6821519" y="4712029"/>
            <a:ext cx="536339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90229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22" presetClass="entr" presetSubtype="1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70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22" presetClass="entr" presetSubtype="1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400"/>
                            </p:stCondLst>
                            <p:childTnLst>
                              <p:par>
                                <p:cTn id="26" presetID="1" presetClass="entr" presetSubtype="0" fill="hold" grpId="0" nodeType="after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22" presetClass="entr" presetSubtype="1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22" grpId="0"/>
      <p:bldP spid="3" grpId="0"/>
      <p:bldP spid="5" grpId="0"/>
      <p:bldP spid="13" grpId="0"/>
      <p:bldP spid="15" grpId="0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5">
            <a:extLst>
              <a:ext uri="{FF2B5EF4-FFF2-40B4-BE49-F238E27FC236}">
                <a16:creationId xmlns:a16="http://schemas.microsoft.com/office/drawing/2014/main" id="{5B4AE278-DF46-4A21-C1D7-E90EB0C3EB7B}"/>
              </a:ext>
            </a:extLst>
          </p:cNvPr>
          <p:cNvSpPr txBox="1"/>
          <p:nvPr/>
        </p:nvSpPr>
        <p:spPr>
          <a:xfrm>
            <a:off x="1681258" y="1401940"/>
            <a:ext cx="5781483" cy="1328056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 defTabSz="91440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MA" sz="4400" b="1" kern="1200">
                <a:solidFill>
                  <a:srgbClr val="565F88"/>
                </a:solidFill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4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بناء على إنجازات المتعلمين خلال الممارسة المستقلة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D47C1E3-1B7F-A87E-8B36-0B2CCD4ED51E}"/>
              </a:ext>
            </a:extLst>
          </p:cNvPr>
          <p:cNvSpPr txBox="1"/>
          <p:nvPr/>
        </p:nvSpPr>
        <p:spPr>
          <a:xfrm>
            <a:off x="1749352" y="4025460"/>
            <a:ext cx="5781483" cy="1328056"/>
          </a:xfrm>
          <a:prstGeom prst="rect">
            <a:avLst/>
          </a:prstGeom>
        </p:spPr>
        <p:txBody>
          <a:bodyPr anchor="ctr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algn="ctr" defTabSz="91440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rgbClr val="565F88"/>
                </a:solidFill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3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تسجل النسبة على صفحة اليوم من مذكرة الأستاذ.</a:t>
            </a:r>
          </a:p>
        </p:txBody>
      </p:sp>
      <p:grpSp>
        <p:nvGrpSpPr>
          <p:cNvPr id="2" name="Groupe 1">
            <a:extLst>
              <a:ext uri="{FF2B5EF4-FFF2-40B4-BE49-F238E27FC236}">
                <a16:creationId xmlns:a16="http://schemas.microsoft.com/office/drawing/2014/main" id="{04FFAC5B-3A94-CF60-E0F3-FB44EA96AD01}"/>
              </a:ext>
            </a:extLst>
          </p:cNvPr>
          <p:cNvGrpSpPr/>
          <p:nvPr/>
        </p:nvGrpSpPr>
        <p:grpSpPr>
          <a:xfrm>
            <a:off x="1292094" y="2839748"/>
            <a:ext cx="6696000" cy="890781"/>
            <a:chOff x="1331545" y="2851205"/>
            <a:chExt cx="6696000" cy="890781"/>
          </a:xfrm>
        </p:grpSpPr>
        <p:pic>
          <p:nvPicPr>
            <p:cNvPr id="14" name="Image 13">
              <a:extLst>
                <a:ext uri="{FF2B5EF4-FFF2-40B4-BE49-F238E27FC236}">
                  <a16:creationId xmlns:a16="http://schemas.microsoft.com/office/drawing/2014/main" id="{D29A9D9E-DA16-02EB-A182-E2D45A811C09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331545" y="2851205"/>
              <a:ext cx="6696000" cy="890781"/>
            </a:xfrm>
            <a:prstGeom prst="rect">
              <a:avLst/>
            </a:prstGeom>
          </p:spPr>
        </p:pic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450F678-FB89-B61B-431D-D2EE915D0630}"/>
                </a:ext>
              </a:extLst>
            </p:cNvPr>
            <p:cNvSpPr/>
            <p:nvPr/>
          </p:nvSpPr>
          <p:spPr>
            <a:xfrm>
              <a:off x="1438551" y="3070709"/>
              <a:ext cx="4896252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r" defTabSz="4572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36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ما تقديرك لنسبة التحكم في هدف الدرس؟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63925132"/>
      </p:ext>
    </p:extLst>
  </p:cSld>
  <p:clrMapOvr>
    <a:masterClrMapping/>
  </p:clrMapOvr>
  <p:transition spd="slow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677C0986-D565-9740-6365-F20D6B12404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495" t="10740" r="-4368" b="1155"/>
          <a:stretch>
            <a:fillRect/>
          </a:stretch>
        </p:blipFill>
        <p:spPr>
          <a:xfrm>
            <a:off x="678137" y="1807373"/>
            <a:ext cx="7789894" cy="4824000"/>
          </a:xfrm>
          <a:prstGeom prst="rect">
            <a:avLst/>
          </a:prstGeom>
        </p:spPr>
      </p:pic>
      <p:sp>
        <p:nvSpPr>
          <p:cNvPr id="26" name="Titre 3">
            <a:extLst>
              <a:ext uri="{FF2B5EF4-FFF2-40B4-BE49-F238E27FC236}">
                <a16:creationId xmlns:a16="http://schemas.microsoft.com/office/drawing/2014/main" id="{42490E3E-A192-1F3F-4FCD-31D5461DED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807" y="856687"/>
            <a:ext cx="7886700" cy="720000"/>
          </a:xfrm>
        </p:spPr>
        <p:txBody>
          <a:bodyPr/>
          <a:lstStyle/>
          <a:p>
            <a:r>
              <a:rPr lang="ar-AE" sz="4000" dirty="0"/>
              <a:t>  ا</a:t>
            </a:r>
            <a:r>
              <a:rPr lang="ar-MA" sz="4400" dirty="0">
                <a:solidFill>
                  <a:srgbClr val="424D7B"/>
                </a:solidFill>
                <a:latin typeface="Dosis ExtraBold" pitchFamily="2" charset="0"/>
                <a:cs typeface="Microsoft Uighur" panose="02000000000000000000" pitchFamily="2" charset="-78"/>
              </a:rPr>
              <a:t>فتتاح</a:t>
            </a:r>
            <a:r>
              <a:rPr lang="ar-MA" sz="4000" dirty="0"/>
              <a:t> </a:t>
            </a:r>
            <a:r>
              <a:rPr lang="ar-MA" sz="4400" dirty="0">
                <a:solidFill>
                  <a:srgbClr val="424D7B"/>
                </a:solidFill>
                <a:latin typeface="Dosis ExtraBold" pitchFamily="2" charset="0"/>
                <a:cs typeface="Microsoft Uighur" panose="02000000000000000000" pitchFamily="2" charset="-78"/>
              </a:rPr>
              <a:t>الحصة</a:t>
            </a:r>
            <a:endParaRPr lang="fr-MA" sz="4400" dirty="0">
              <a:solidFill>
                <a:srgbClr val="424D7B"/>
              </a:solidFill>
              <a:latin typeface="Dosis ExtraBold" pitchFamily="2" charset="0"/>
              <a:cs typeface="Microsoft Uighur" panose="02000000000000000000" pitchFamily="2" charset="-78"/>
            </a:endParaRPr>
          </a:p>
        </p:txBody>
      </p:sp>
      <p:pic>
        <p:nvPicPr>
          <p:cNvPr id="27" name="Image 26">
            <a:extLst>
              <a:ext uri="{FF2B5EF4-FFF2-40B4-BE49-F238E27FC236}">
                <a16:creationId xmlns:a16="http://schemas.microsoft.com/office/drawing/2014/main" id="{6210EB0F-9A2D-91D9-A1C7-9D1606A2C8A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75612" y="1036687"/>
            <a:ext cx="360000" cy="360000"/>
          </a:xfrm>
          <a:prstGeom prst="rect">
            <a:avLst/>
          </a:prstGeom>
          <a:ln>
            <a:noFill/>
          </a:ln>
        </p:spPr>
      </p:pic>
      <p:sp>
        <p:nvSpPr>
          <p:cNvPr id="29" name="Espace réservé du texte 5">
            <a:extLst>
              <a:ext uri="{FF2B5EF4-FFF2-40B4-BE49-F238E27FC236}">
                <a16:creationId xmlns:a16="http://schemas.microsoft.com/office/drawing/2014/main" id="{D6FAA037-4AB3-CA39-790F-44BD0952952D}"/>
              </a:ext>
            </a:extLst>
          </p:cNvPr>
          <p:cNvSpPr txBox="1">
            <a:spLocks/>
          </p:cNvSpPr>
          <p:nvPr/>
        </p:nvSpPr>
        <p:spPr>
          <a:xfrm>
            <a:off x="2165590" y="2577725"/>
            <a:ext cx="4500000" cy="102289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l"/>
              <a:defRPr sz="1200" kern="1200">
                <a:solidFill>
                  <a:srgbClr val="424D7B"/>
                </a:solidFill>
                <a:latin typeface="Dosis SemiBold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10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marR="0" lvl="0" indent="-266700" algn="r" defTabSz="914400" rtl="1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24D7B"/>
              </a:buClr>
              <a:buSzPct val="50000"/>
              <a:buFont typeface="Wingdings" panose="05000000000000000000" pitchFamily="2" charset="2"/>
              <a:buChar char="l"/>
              <a:tabLst/>
              <a:defRPr/>
            </a:pP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Dosis SemiBold" pitchFamily="2" charset="0"/>
                <a:ea typeface="+mn-ea"/>
                <a:cs typeface="Microsoft Uighur" panose="02000000000000000000" pitchFamily="2" charset="-78"/>
              </a:rPr>
              <a:t>ترحيب</a:t>
            </a:r>
          </a:p>
          <a:p>
            <a:pPr marL="266700" marR="0" lvl="0" indent="-266700" algn="r" defTabSz="914400" rtl="1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24D7B"/>
              </a:buClr>
              <a:buSzPct val="50000"/>
              <a:buFont typeface="Wingdings" panose="05000000000000000000" pitchFamily="2" charset="2"/>
              <a:buChar char="l"/>
              <a:tabLst/>
              <a:defRPr/>
            </a:pP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Dosis SemiBold" pitchFamily="2" charset="0"/>
                <a:ea typeface="+mn-ea"/>
                <a:cs typeface="Microsoft Uighur" panose="02000000000000000000" pitchFamily="2" charset="-78"/>
              </a:rPr>
              <a:t>تدبير السلوك</a:t>
            </a:r>
          </a:p>
          <a:p>
            <a:pPr marL="266700" marR="0" lvl="0" indent="-266700" algn="r" defTabSz="914400" rtl="1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24D7B"/>
              </a:buClr>
              <a:buSzPct val="50000"/>
              <a:buFont typeface="Wingdings" panose="05000000000000000000" pitchFamily="2" charset="2"/>
              <a:buChar char="l"/>
              <a:tabLst/>
              <a:defRPr/>
            </a:pPr>
            <a:r>
              <a:rPr lang="ar-MA" sz="2800" b="1" dirty="0">
                <a:cs typeface="Microsoft Uighur" panose="02000000000000000000" pitchFamily="2" charset="-78"/>
              </a:rPr>
              <a:t>رائز التحقق</a:t>
            </a:r>
            <a:endParaRPr kumimoji="0" lang="ar-MA" sz="2800" b="1" i="0" u="none" strike="noStrike" kern="1200" cap="none" spc="0" normalizeH="0" baseline="0" noProof="0" dirty="0">
              <a:ln>
                <a:noFill/>
              </a:ln>
              <a:solidFill>
                <a:srgbClr val="424D7B"/>
              </a:solidFill>
              <a:effectLst/>
              <a:uLnTx/>
              <a:uFillTx/>
              <a:latin typeface="Dosis SemiBold" pitchFamily="2" charset="0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F7D6550F-9DEC-8087-2526-912B5A010A60}"/>
              </a:ext>
            </a:extLst>
          </p:cNvPr>
          <p:cNvSpPr txBox="1"/>
          <p:nvPr/>
        </p:nvSpPr>
        <p:spPr>
          <a:xfrm>
            <a:off x="5790710" y="1823819"/>
            <a:ext cx="138050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AE" sz="28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</a:t>
            </a: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فتتاح الحصة</a:t>
            </a:r>
          </a:p>
        </p:txBody>
      </p:sp>
      <p:pic>
        <p:nvPicPr>
          <p:cNvPr id="31" name="Image 30">
            <a:extLst>
              <a:ext uri="{FF2B5EF4-FFF2-40B4-BE49-F238E27FC236}">
                <a16:creationId xmlns:a16="http://schemas.microsoft.com/office/drawing/2014/main" id="{37C6F37A-6590-0F81-D8D7-762927830B9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24961" y="2085429"/>
            <a:ext cx="726603" cy="720000"/>
          </a:xfrm>
          <a:prstGeom prst="rect">
            <a:avLst/>
          </a:prstGeom>
        </p:spPr>
      </p:pic>
      <p:pic>
        <p:nvPicPr>
          <p:cNvPr id="32" name="Espace réservé pour une image  20">
            <a:extLst>
              <a:ext uri="{FF2B5EF4-FFF2-40B4-BE49-F238E27FC236}">
                <a16:creationId xmlns:a16="http://schemas.microsoft.com/office/drawing/2014/main" id="{A30AECEB-C2EF-3DB3-46FB-E9ED6FF8C73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560" r="-7560"/>
          <a:stretch>
            <a:fillRect/>
          </a:stretch>
        </p:blipFill>
        <p:spPr>
          <a:xfrm>
            <a:off x="895743" y="1761641"/>
            <a:ext cx="540000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995645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22" presetClass="entr" presetSubtype="1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" dur="2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  <p:bldP spid="30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E28971-125A-CB14-DBFF-07A72BEBE2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>
            <a:extLst>
              <a:ext uri="{FF2B5EF4-FFF2-40B4-BE49-F238E27FC236}">
                <a16:creationId xmlns:a16="http://schemas.microsoft.com/office/drawing/2014/main" id="{A0AA1F6B-6FA8-D786-AE56-67295470D136}"/>
              </a:ext>
            </a:extLst>
          </p:cNvPr>
          <p:cNvSpPr/>
          <p:nvPr/>
        </p:nvSpPr>
        <p:spPr>
          <a:xfrm>
            <a:off x="-613787" y="173516"/>
            <a:ext cx="324000" cy="324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03C05D6-14A2-6FD8-01ED-9C29BB69B23F}"/>
              </a:ext>
            </a:extLst>
          </p:cNvPr>
          <p:cNvSpPr/>
          <p:nvPr/>
        </p:nvSpPr>
        <p:spPr>
          <a:xfrm>
            <a:off x="-613787" y="584942"/>
            <a:ext cx="324000" cy="324000"/>
          </a:xfrm>
          <a:prstGeom prst="rect">
            <a:avLst/>
          </a:prstGeom>
          <a:solidFill>
            <a:srgbClr val="0097B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CFA785B4-FE81-5515-1D56-7273EF2E0A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rtl="0"/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مرحبا بكم ، سنبدأ  حصة اللغة العربية.</a:t>
            </a:r>
            <a:endParaRPr lang="fr-FR" sz="24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B8DA5BFA-3D52-19C3-BFD2-9274B9783F5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4E5FB852-170A-2F86-5B1E-D0F394434C1C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62A8FF37-7DFD-A9D2-E63D-26D75F184A5E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5BF889F9-0E4A-0115-7C8B-AE73EA9D9AF0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E55F1B4B-88C8-FABD-D1FB-4B16B79791EB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2000" b="1" dirty="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افتتاح</a:t>
            </a:r>
            <a:r>
              <a:rPr lang="ar-MA" sz="2000" b="1" dirty="0">
                <a:solidFill>
                  <a:srgbClr val="565F88">
                    <a:alpha val="20000"/>
                  </a:srgbClr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 </a:t>
            </a:r>
            <a:r>
              <a:rPr lang="ar-MA" sz="2000" b="1" dirty="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الحصة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1DC97F4-53D7-A57D-C05B-CA19DFA71EE2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91F517A-4A94-1577-0E2B-98BDB7FFF25A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366F0B6-248A-C19F-1864-4745B76AFCF6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4" name="Espace réservé pour une image  4">
            <a:extLst>
              <a:ext uri="{FF2B5EF4-FFF2-40B4-BE49-F238E27FC236}">
                <a16:creationId xmlns:a16="http://schemas.microsoft.com/office/drawing/2014/main" id="{F2123FF1-AD45-CB10-6D79-2AF2E214B96B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14781" y="676343"/>
            <a:ext cx="900113" cy="900112"/>
          </a:xfrm>
        </p:spPr>
      </p:pic>
      <p:pic>
        <p:nvPicPr>
          <p:cNvPr id="5" name="Espace réservé pour une image  10">
            <a:extLst>
              <a:ext uri="{FF2B5EF4-FFF2-40B4-BE49-F238E27FC236}">
                <a16:creationId xmlns:a16="http://schemas.microsoft.com/office/drawing/2014/main" id="{AAE4AB6F-2CA5-90BE-C174-3F8C64AA70AC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7371" r="-17371"/>
          <a:stretch>
            <a:fillRect/>
          </a:stretch>
        </p:blipFill>
        <p:spPr>
          <a:xfrm>
            <a:off x="1871663" y="2160588"/>
            <a:ext cx="5400675" cy="3598862"/>
          </a:xfrm>
          <a:prstGeom prst="roundRect">
            <a:avLst>
              <a:gd name="adj" fmla="val 11828"/>
            </a:avLst>
          </a:prstGeom>
        </p:spPr>
      </p:pic>
    </p:spTree>
    <p:extLst>
      <p:ext uri="{BB962C8B-B14F-4D97-AF65-F5344CB8AC3E}">
        <p14:creationId xmlns:p14="http://schemas.microsoft.com/office/powerpoint/2010/main" val="3093899314"/>
      </p:ext>
    </p:extLst>
  </p:cSld>
  <p:clrMapOvr>
    <a:masterClrMapping/>
  </p:clrMapOvr>
  <p:transition spd="slow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9D470B-FA26-6AE1-8738-C686AAA828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re 19">
            <a:extLst>
              <a:ext uri="{FF2B5EF4-FFF2-40B4-BE49-F238E27FC236}">
                <a16:creationId xmlns:a16="http://schemas.microsoft.com/office/drawing/2014/main" id="{57D1160E-6BA9-CC18-311F-F714FA7A32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ضعوا اللوحة على الطاولة ، الكراسة والدفتر والمقلمة في القمطر</a:t>
            </a:r>
            <a:r>
              <a:rPr kumimoji="0" lang="fr-MA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 .</a:t>
            </a: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  <a:sym typeface="Wingdings" panose="05000000000000000000" pitchFamily="2" charset="2"/>
              </a:rPr>
              <a:t></a:t>
            </a:r>
            <a:endParaRPr lang="fr-FR" sz="24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7" name="Espace réservé pour une image  4">
            <a:extLst>
              <a:ext uri="{FF2B5EF4-FFF2-40B4-BE49-F238E27FC236}">
                <a16:creationId xmlns:a16="http://schemas.microsoft.com/office/drawing/2014/main" id="{216546B4-85A1-E099-31EF-369926AD976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" r="88"/>
          <a:stretch>
            <a:fillRect/>
          </a:stretch>
        </p:blipFill>
        <p:spPr>
          <a:xfrm>
            <a:off x="7907338" y="650875"/>
            <a:ext cx="898525" cy="900113"/>
          </a:xfrm>
          <a:prstGeom prst="rect">
            <a:avLst/>
          </a:prstGeom>
        </p:spPr>
      </p:pic>
      <p:pic>
        <p:nvPicPr>
          <p:cNvPr id="2" name="Class AR_NV_05_1">
            <a:hlinkClick r:id="" action="ppaction://media"/>
            <a:extLst>
              <a:ext uri="{FF2B5EF4-FFF2-40B4-BE49-F238E27FC236}">
                <a16:creationId xmlns:a16="http://schemas.microsoft.com/office/drawing/2014/main" id="{292D0FB5-D540-BFD0-F6AC-FE864E8B8503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052513" y="2160588"/>
            <a:ext cx="7038975" cy="395922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D0ACC1B8-84AE-BB8D-BB86-F4D5DDCC982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E3F3DD99-4256-57C5-AFE5-C9BB74245797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2FB2B98C-6764-6144-AFC1-F0E543EE6019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75E44928-5F80-20C8-672C-99A325F7AA87}"/>
              </a:ext>
            </a:extLst>
          </p:cNvPr>
          <p:cNvPicPr>
            <a:picLocks noChangeAspect="1"/>
          </p:cNvPicPr>
          <p:nvPr/>
        </p:nvPicPr>
        <p:blipFill>
          <a:blip r:embed="rId9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554D20A-03AD-F97F-A975-B6A4B0C89B39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2000" b="1" dirty="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افتتاح</a:t>
            </a:r>
            <a:r>
              <a:rPr lang="ar-MA" sz="2000" b="1" dirty="0">
                <a:solidFill>
                  <a:srgbClr val="565F88">
                    <a:alpha val="20000"/>
                  </a:srgbClr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 </a:t>
            </a:r>
            <a:r>
              <a:rPr lang="ar-MA" sz="2000" b="1" dirty="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الحصة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E523E61-C570-D137-D1A5-10FC23C71694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F61C066-DB52-8A79-F6ED-F409E298C528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D8D23D0-0230-A5C2-38CD-01DA15C0E3E1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11" name="Image 10" descr="Une image contenant noir, obscurité&#10;&#10;Le contenu généré par l’IA peut être incorrect.">
            <a:extLst>
              <a:ext uri="{FF2B5EF4-FFF2-40B4-BE49-F238E27FC236}">
                <a16:creationId xmlns:a16="http://schemas.microsoft.com/office/drawing/2014/main" id="{A6DC6EEA-8822-03D6-A58F-1B86E7F14FCB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32373" y="6241000"/>
            <a:ext cx="540000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552319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6106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9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0" fill="hold">
                      <p:stCondLst>
                        <p:cond delay="0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3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14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DD66D4-6EAC-890C-3DAF-1CB34FC9DF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EE4A397-21FA-CF72-B01A-7485FDDEED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137" y="756000"/>
            <a:ext cx="7039236" cy="612000"/>
          </a:xfrm>
        </p:spPr>
        <p:txBody>
          <a:bodyPr>
            <a:noAutofit/>
          </a:bodyPr>
          <a:lstStyle/>
          <a:p>
            <a:r>
              <a:rPr lang="ar-MA" sz="2400" b="1" dirty="0">
                <a:solidFill>
                  <a:schemeClr val="bg1">
                    <a:lumMod val="50000"/>
                  </a:scheme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خدوا كراساتكم . الصفحة 56. سأتحقق من درجة تحكمكم من بعض التعلمات.</a:t>
            </a:r>
            <a:endParaRPr lang="fr-FR" sz="24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3" name="Espace réservé pour une image  12">
            <a:extLst>
              <a:ext uri="{FF2B5EF4-FFF2-40B4-BE49-F238E27FC236}">
                <a16:creationId xmlns:a16="http://schemas.microsoft.com/office/drawing/2014/main" id="{1567F272-58DC-64E5-D128-9C0561DF5345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81953C2B-EABE-D244-0706-F54AB2AA187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51100" y="2059268"/>
            <a:ext cx="2699069" cy="4140000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1A6A6039-612B-B863-2F7F-E305063C118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80F42357-F29F-6C18-139D-1BAB17F1C6F0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5C31DD97-98FB-E606-D529-DE0B90A6E9AF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83950EC0-E725-F763-B7E8-93F7D962FD14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19459C5B-9673-7EBF-8EBB-86FA34BDCB4D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2000" b="1" dirty="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افتتاح</a:t>
            </a:r>
            <a:r>
              <a:rPr lang="ar-MA" sz="2000" b="1" dirty="0">
                <a:solidFill>
                  <a:srgbClr val="565F88">
                    <a:alpha val="20000"/>
                  </a:srgbClr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 </a:t>
            </a:r>
            <a:r>
              <a:rPr lang="ar-MA" sz="2000" b="1" dirty="0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الحصة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7C60FD9-6DC1-B959-0B42-ADBE4CC8972D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4F3E7EB-D3A7-6A38-D18A-BAE4CA5AE317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6FE42A8-8FCF-B8B5-F5C5-3317375C523B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قراءة الإثرائية</a:t>
            </a:r>
          </a:p>
        </p:txBody>
      </p:sp>
    </p:spTree>
    <p:extLst>
      <p:ext uri="{BB962C8B-B14F-4D97-AF65-F5344CB8AC3E}">
        <p14:creationId xmlns:p14="http://schemas.microsoft.com/office/powerpoint/2010/main" val="1046104809"/>
      </p:ext>
    </p:extLst>
  </p:cSld>
  <p:clrMapOvr>
    <a:masterClrMapping/>
  </p:clrMapOvr>
  <p:transition spd="slow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00000"/>
        </a:solidFill>
        <a:ln>
          <a:solidFill>
            <a:srgbClr val="C00000"/>
          </a:solidFill>
        </a:ln>
      </a:spPr>
      <a:bodyPr rtlCol="0" anchor="ctr"/>
      <a:lstStyle>
        <a:defPPr algn="ctr">
          <a:defRPr b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0.xml><?xml version="1.0" encoding="utf-8"?>
<a:theme xmlns:a="http://schemas.openxmlformats.org/drawingml/2006/main" name="افتتاح الحصة  nv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Thème Office">
  <a:themeElements>
    <a:clrScheme name="Thèm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hème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01- نشاط اعتيادي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Env-Enseignant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01- نشاط اعتيادي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_Env-Enseignant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3_01- نشاط اعتيادي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2_05- افتتاح الحصة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2_05- اختتام الحصة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18123</TotalTime>
  <Words>1279</Words>
  <Application>Microsoft Office PowerPoint</Application>
  <PresentationFormat>Affichage à l'écran (4:3)</PresentationFormat>
  <Paragraphs>328</Paragraphs>
  <Slides>50</Slides>
  <Notes>0</Notes>
  <HiddenSlides>0</HiddenSlides>
  <MMClips>2</MMClips>
  <ScaleCrop>false</ScaleCrop>
  <HeadingPairs>
    <vt:vector size="8" baseType="variant">
      <vt:variant>
        <vt:lpstr>Polices utilisées</vt:lpstr>
      </vt:variant>
      <vt:variant>
        <vt:i4>10</vt:i4>
      </vt:variant>
      <vt:variant>
        <vt:lpstr>Thème</vt:lpstr>
      </vt:variant>
      <vt:variant>
        <vt:i4>10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50</vt:i4>
      </vt:variant>
    </vt:vector>
  </HeadingPairs>
  <TitlesOfParts>
    <vt:vector size="71" baseType="lpstr">
      <vt:lpstr>Arial</vt:lpstr>
      <vt:lpstr>Calibri Light</vt:lpstr>
      <vt:lpstr>Dosis</vt:lpstr>
      <vt:lpstr>Dosis ExtraBold</vt:lpstr>
      <vt:lpstr>Dosis Medium</vt:lpstr>
      <vt:lpstr>Dosis SemiBold</vt:lpstr>
      <vt:lpstr>Microsoft Uighur</vt:lpstr>
      <vt:lpstr>Modern Love</vt:lpstr>
      <vt:lpstr>Sakkal Majalla</vt:lpstr>
      <vt:lpstr>Wingdings</vt:lpstr>
      <vt:lpstr>3_Simple Light</vt:lpstr>
      <vt:lpstr>1_Thème Office</vt:lpstr>
      <vt:lpstr>01- نشاط اعتيادي</vt:lpstr>
      <vt:lpstr>3_Env-Enseignant</vt:lpstr>
      <vt:lpstr>1_01- نشاط اعتيادي</vt:lpstr>
      <vt:lpstr>1_Env-Enseignant</vt:lpstr>
      <vt:lpstr>3_01- نشاط اعتيادي</vt:lpstr>
      <vt:lpstr>2_05- افتتاح الحصة</vt:lpstr>
      <vt:lpstr>2_05- اختتام الحصة</vt:lpstr>
      <vt:lpstr>افتتاح الحصة  nv</vt:lpstr>
      <vt:lpstr>think-cell Slide</vt:lpstr>
      <vt:lpstr>Présentation PowerPoint</vt:lpstr>
      <vt:lpstr>Présentation PowerPoint</vt:lpstr>
      <vt:lpstr>Présentation PowerPoint</vt:lpstr>
      <vt:lpstr>تنظيم حصص الأسبوع الرابع</vt:lpstr>
      <vt:lpstr>هيكلة حصة اليوم</vt:lpstr>
      <vt:lpstr>  افتتاح الحصة</vt:lpstr>
      <vt:lpstr>مرحبا بكم ، سنبدأ  حصة اللغة العربية.</vt:lpstr>
      <vt:lpstr>ضعوا اللوحة على الطاولة ، الكراسة والدفتر والمقلمة في القمطر .</vt:lpstr>
      <vt:lpstr>خدوا كراساتكم . الصفحة 56. سأتحقق من درجة تحكمكم من بعض التعلمات.</vt:lpstr>
      <vt:lpstr>على ألواحكم أجيبوا عن الأسئلة التالية من خلال النص. سأسجل نسبة التحكم</vt:lpstr>
      <vt:lpstr>السؤال الأول.  أكتب سؤالا باستعمال "ما" يكون جوابه واردا في النص.</vt:lpstr>
      <vt:lpstr>السؤال الثاني.  أكتب سؤالا باستعمال كيف. </vt:lpstr>
      <vt:lpstr>السؤال الثالث .أدخل ناسخا فعليا يفيد التحول على الجملة التالية. </vt:lpstr>
      <vt:lpstr>عند نهاية رائز التحقق</vt:lpstr>
      <vt:lpstr>مراجعة وتوليف </vt:lpstr>
      <vt:lpstr>خدوا كراساتكم . سننجز أنشطة المراجعة و التوليف الواردة على  الصفحتين 56 و 57</vt:lpstr>
      <vt:lpstr>اِقرؤوا النص والفقرة  قراءة صامتة ؛لتتمكنوا من الإجابة عن أسئلة. </vt:lpstr>
      <vt:lpstr>النشاط الأول:  اضبطوا كلمات الفقرة بالشكل التام. تكتب الفقرة على السبورة.</vt:lpstr>
      <vt:lpstr>سأمر بين الصفوف لمساعدتكم</vt:lpstr>
      <vt:lpstr>من يصحح .</vt:lpstr>
      <vt:lpstr>صححوا أخطاءكم.</vt:lpstr>
      <vt:lpstr>الآن. ستجيبون عن أسئلة المعجم و الفهم.   لديكم 15 دقيقة للإنجاز.</vt:lpstr>
      <vt:lpstr>انتبهوا للسؤال الثاني في الفهم أضيفوا "فوائد" </vt:lpstr>
      <vt:lpstr>معكم مهلة للتفكير. سأمر بين الصفوف لتقديم المساعدة.</vt:lpstr>
      <vt:lpstr>نصحح الان. من يجيب عن أسئلة المعجم؟</vt:lpstr>
      <vt:lpstr>صححوا.</vt:lpstr>
      <vt:lpstr>صححوا</vt:lpstr>
      <vt:lpstr>نواصل التصحيح  من يقرأ جوابه عن السؤال 3</vt:lpstr>
      <vt:lpstr>صححوا.</vt:lpstr>
      <vt:lpstr>نواصل التصحيح  من يقرأ جوابه عن أسئلة الفهم. من يجيب عن السؤال الأول؟</vt:lpstr>
      <vt:lpstr>إليكم هذا الجواب . ما رأيكم؟ صححوا.</vt:lpstr>
      <vt:lpstr>من يقدم لنا جوابه عن السؤال الثاني؟</vt:lpstr>
      <vt:lpstr>إليكم هذا الجواب . ما رأيكم؟ صححوا.</vt:lpstr>
      <vt:lpstr>الآن ، أنجزوا الأنشطة التالية: معكم 10 دقائق للإنجاز</vt:lpstr>
      <vt:lpstr>سأمر بيم الصفوف لمساعدتكم</vt:lpstr>
      <vt:lpstr>نصحح السؤال الرابع. من يجيب؟</vt:lpstr>
      <vt:lpstr>إليكم هذا النموذج؟ صححوا. هناك إجابات أخرى ممكنة</vt:lpstr>
      <vt:lpstr>نصحح السؤال الخامس. من يجيب؟</vt:lpstr>
      <vt:lpstr>صححوا.</vt:lpstr>
      <vt:lpstr>نصحح السؤال السادس. من يجيب؟</vt:lpstr>
      <vt:lpstr>صححوا.</vt:lpstr>
      <vt:lpstr>ورشة القراءة – القراءة الاثرائية</vt:lpstr>
      <vt:lpstr>اليوم سنعيد سرد قصة الصحن الصغير بأسلوبنا الخاص</vt:lpstr>
      <vt:lpstr>خذوا جدادة القراءة التي قمتم بتعبئتها خلال الحصص الماضية.</vt:lpstr>
      <vt:lpstr>من يذكرنا بأهم أحداثها.</vt:lpstr>
      <vt:lpstr>الآن سنبني معا خريطة ذهنية للقصة؟</vt:lpstr>
      <vt:lpstr>دونوا هذه الخريطة الذهنية على دفاتر البحث. أنجزوا المطلوب في منازلكم.</vt:lpstr>
      <vt:lpstr>اختتام الحصة</vt:lpstr>
      <vt:lpstr>إلى اللقاء في الحصة المقبلة 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EL HAMDOUNI BTIHAJ</dc:creator>
  <cp:lastModifiedBy>EL HAMDOUNI BTIHAJ</cp:lastModifiedBy>
  <cp:revision>164</cp:revision>
  <dcterms:created xsi:type="dcterms:W3CDTF">2023-09-20T21:35:22Z</dcterms:created>
  <dcterms:modified xsi:type="dcterms:W3CDTF">2025-11-21T11:49:50Z</dcterms:modified>
</cp:coreProperties>
</file>